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2"/>
  </p:notesMasterIdLst>
  <p:sldIdLst>
    <p:sldId id="505" r:id="rId2"/>
    <p:sldId id="495" r:id="rId3"/>
    <p:sldId id="496" r:id="rId4"/>
    <p:sldId id="264" r:id="rId5"/>
    <p:sldId id="471" r:id="rId6"/>
    <p:sldId id="382" r:id="rId7"/>
    <p:sldId id="497" r:id="rId8"/>
    <p:sldId id="485" r:id="rId9"/>
    <p:sldId id="507" r:id="rId10"/>
    <p:sldId id="317" r:id="rId11"/>
    <p:sldId id="498" r:id="rId12"/>
    <p:sldId id="489" r:id="rId13"/>
    <p:sldId id="508" r:id="rId14"/>
    <p:sldId id="492" r:id="rId15"/>
    <p:sldId id="488" r:id="rId16"/>
    <p:sldId id="490" r:id="rId17"/>
    <p:sldId id="501" r:id="rId18"/>
    <p:sldId id="502" r:id="rId19"/>
    <p:sldId id="493" r:id="rId20"/>
    <p:sldId id="506" r:id="rId21"/>
  </p:sldIdLst>
  <p:sldSz cx="12192000" cy="6858000"/>
  <p:notesSz cx="6858000" cy="91440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34">
          <p15:clr>
            <a:srgbClr val="A4A3A4"/>
          </p15:clr>
        </p15:guide>
        <p15:guide id="2" orient="horz" pos="2862">
          <p15:clr>
            <a:srgbClr val="A4A3A4"/>
          </p15:clr>
        </p15:guide>
        <p15:guide id="3" orient="horz" pos="2697">
          <p15:clr>
            <a:srgbClr val="A4A3A4"/>
          </p15:clr>
        </p15:guide>
        <p15:guide id="4" orient="horz" pos="1659">
          <p15:clr>
            <a:srgbClr val="A4A3A4"/>
          </p15:clr>
        </p15:guide>
        <p15:guide id="5" orient="horz" pos="3996">
          <p15:clr>
            <a:srgbClr val="A4A3A4"/>
          </p15:clr>
        </p15:guide>
        <p15:guide id="6" orient="horz" pos="3414">
          <p15:clr>
            <a:srgbClr val="A4A3A4"/>
          </p15:clr>
        </p15:guide>
        <p15:guide id="7" orient="horz" pos="1888">
          <p15:clr>
            <a:srgbClr val="A4A3A4"/>
          </p15:clr>
        </p15:guide>
        <p15:guide id="8" pos="5171">
          <p15:clr>
            <a:srgbClr val="A4A3A4"/>
          </p15:clr>
        </p15:guide>
        <p15:guide id="9" pos="2509">
          <p15:clr>
            <a:srgbClr val="A4A3A4"/>
          </p15:clr>
        </p15:guide>
        <p15:guide id="10" pos="4928">
          <p15:clr>
            <a:srgbClr val="A4A3A4"/>
          </p15:clr>
        </p15:guide>
        <p15:guide id="11" pos="2752">
          <p15:clr>
            <a:srgbClr val="A4A3A4"/>
          </p15:clr>
        </p15:guide>
        <p15:guide id="12" pos="332">
          <p15:clr>
            <a:srgbClr val="A4A3A4"/>
          </p15:clr>
        </p15:guide>
        <p15:guide id="13" pos="7408">
          <p15:clr>
            <a:srgbClr val="A4A3A4"/>
          </p15:clr>
        </p15:guide>
        <p15:guide id="14" orient="horz" pos="4336">
          <p15:clr>
            <a:srgbClr val="A4A3A4"/>
          </p15:clr>
        </p15:guide>
        <p15:guide id="15" pos="7651">
          <p15:clr>
            <a:srgbClr val="A4A3A4"/>
          </p15:clr>
        </p15:guide>
        <p15:guide id="16" orient="horz">
          <p15:clr>
            <a:srgbClr val="A4A3A4"/>
          </p15:clr>
        </p15:guide>
        <p15:guide id="17" pos="3840">
          <p15:clr>
            <a:srgbClr val="A4A3A4"/>
          </p15:clr>
        </p15:guide>
        <p15:guide id="18" pos="846">
          <p15:clr>
            <a:srgbClr val="A4A3A4"/>
          </p15:clr>
        </p15:guide>
        <p15:guide id="19" pos="571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415A61"/>
    <a:srgbClr val="E6E6E6"/>
    <a:srgbClr val="00DCCA"/>
    <a:srgbClr val="040608"/>
    <a:srgbClr val="3B555B"/>
    <a:srgbClr val="133F7E"/>
    <a:srgbClr val="12A9E0"/>
    <a:srgbClr val="0C368A"/>
    <a:srgbClr val="72C0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29" autoAdjust="0"/>
    <p:restoredTop sz="89588" autoAdjust="0"/>
  </p:normalViewPr>
  <p:slideViewPr>
    <p:cSldViewPr>
      <p:cViewPr varScale="1">
        <p:scale>
          <a:sx n="79" d="100"/>
          <a:sy n="79" d="100"/>
        </p:scale>
        <p:origin x="830" y="77"/>
      </p:cViewPr>
      <p:guideLst>
        <p:guide orient="horz" pos="1434"/>
        <p:guide orient="horz" pos="2862"/>
        <p:guide orient="horz" pos="2697"/>
        <p:guide orient="horz" pos="1659"/>
        <p:guide orient="horz" pos="3996"/>
        <p:guide orient="horz" pos="3414"/>
        <p:guide orient="horz" pos="1888"/>
        <p:guide pos="5171"/>
        <p:guide pos="2509"/>
        <p:guide pos="4928"/>
        <p:guide pos="2752"/>
        <p:guide pos="332"/>
        <p:guide pos="7408"/>
        <p:guide orient="horz" pos="4336"/>
        <p:guide pos="7651"/>
        <p:guide orient="horz"/>
        <p:guide pos="3840"/>
        <p:guide pos="846"/>
        <p:guide pos="57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127726629173603E-2"/>
          <c:y val="0.109742766986726"/>
          <c:w val="0.91551055634212097"/>
          <c:h val="0.86586995146066903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辅助系列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US</c:v>
                </c:pt>
                <c:pt idx="1">
                  <c:v>Brazil</c:v>
                </c:pt>
                <c:pt idx="2">
                  <c:v>Australia</c:v>
                </c:pt>
                <c:pt idx="3">
                  <c:v>China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64-41C7-BF32-6B79CF9D3F7E}"/>
            </c:ext>
          </c:extLst>
        </c:ser>
        <c:ser>
          <c:idx val="0"/>
          <c:order val="1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zh-CN" sz="1195" b="0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US</c:v>
                </c:pt>
                <c:pt idx="1">
                  <c:v>Brazil</c:v>
                </c:pt>
                <c:pt idx="2">
                  <c:v>Australia</c:v>
                </c:pt>
                <c:pt idx="3">
                  <c:v>China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8</c:v>
                </c:pt>
                <c:pt idx="1">
                  <c:v>0.7</c:v>
                </c:pt>
                <c:pt idx="2">
                  <c:v>0.47499999999999998</c:v>
                </c:pt>
                <c:pt idx="3">
                  <c:v>0.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464-41C7-BF32-6B79CF9D3F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799564752"/>
        <c:axId val="799560944"/>
      </c:barChart>
      <c:catAx>
        <c:axId val="799564752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799560944"/>
        <c:crosses val="autoZero"/>
        <c:auto val="1"/>
        <c:lblAlgn val="ctr"/>
        <c:lblOffset val="100"/>
        <c:noMultiLvlLbl val="0"/>
      </c:catAx>
      <c:valAx>
        <c:axId val="799560944"/>
        <c:scaling>
          <c:orientation val="minMax"/>
          <c:max val="1"/>
        </c:scaling>
        <c:delete val="1"/>
        <c:axPos val="t"/>
        <c:numFmt formatCode="General" sourceLinked="1"/>
        <c:majorTickMark val="out"/>
        <c:minorTickMark val="none"/>
        <c:tickLblPos val="nextTo"/>
        <c:crossAx val="79956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cat>
            <c:strRef>
              <c:f>Sheet1!$A$2:$A$22</c:f>
              <c:strCache>
                <c:ptCount val="21"/>
                <c:pt idx="0">
                  <c:v>a1</c:v>
                </c:pt>
                <c:pt idx="1">
                  <c:v>a2</c:v>
                </c:pt>
                <c:pt idx="2">
                  <c:v>a3</c:v>
                </c:pt>
                <c:pt idx="3">
                  <c:v>a4</c:v>
                </c:pt>
                <c:pt idx="4">
                  <c:v>a5</c:v>
                </c:pt>
                <c:pt idx="5">
                  <c:v>a6</c:v>
                </c:pt>
                <c:pt idx="6">
                  <c:v>a7</c:v>
                </c:pt>
                <c:pt idx="7">
                  <c:v>a8</c:v>
                </c:pt>
                <c:pt idx="8">
                  <c:v>a9</c:v>
                </c:pt>
                <c:pt idx="9">
                  <c:v>a10</c:v>
                </c:pt>
                <c:pt idx="10">
                  <c:v>a11</c:v>
                </c:pt>
                <c:pt idx="11">
                  <c:v>a12</c:v>
                </c:pt>
                <c:pt idx="12">
                  <c:v>a13</c:v>
                </c:pt>
                <c:pt idx="13">
                  <c:v>a14</c:v>
                </c:pt>
                <c:pt idx="14">
                  <c:v>a15</c:v>
                </c:pt>
                <c:pt idx="15">
                  <c:v>a16</c:v>
                </c:pt>
                <c:pt idx="16">
                  <c:v>a17</c:v>
                </c:pt>
                <c:pt idx="17">
                  <c:v>a18</c:v>
                </c:pt>
                <c:pt idx="18">
                  <c:v>a19</c:v>
                </c:pt>
                <c:pt idx="19">
                  <c:v>a20</c:v>
                </c:pt>
                <c:pt idx="20">
                  <c:v>a21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9</c:v>
                </c:pt>
                <c:pt idx="1">
                  <c:v>7</c:v>
                </c:pt>
                <c:pt idx="2">
                  <c:v>16</c:v>
                </c:pt>
                <c:pt idx="3">
                  <c:v>13</c:v>
                </c:pt>
                <c:pt idx="4">
                  <c:v>11</c:v>
                </c:pt>
                <c:pt idx="5">
                  <c:v>14</c:v>
                </c:pt>
                <c:pt idx="6">
                  <c:v>13</c:v>
                </c:pt>
                <c:pt idx="7">
                  <c:v>17</c:v>
                </c:pt>
                <c:pt idx="8">
                  <c:v>14</c:v>
                </c:pt>
                <c:pt idx="9">
                  <c:v>12</c:v>
                </c:pt>
                <c:pt idx="10">
                  <c:v>9</c:v>
                </c:pt>
                <c:pt idx="11">
                  <c:v>14</c:v>
                </c:pt>
                <c:pt idx="12">
                  <c:v>12</c:v>
                </c:pt>
                <c:pt idx="13">
                  <c:v>8</c:v>
                </c:pt>
                <c:pt idx="14">
                  <c:v>9</c:v>
                </c:pt>
                <c:pt idx="15">
                  <c:v>13</c:v>
                </c:pt>
                <c:pt idx="16">
                  <c:v>12</c:v>
                </c:pt>
                <c:pt idx="17">
                  <c:v>16</c:v>
                </c:pt>
                <c:pt idx="18">
                  <c:v>15</c:v>
                </c:pt>
                <c:pt idx="19">
                  <c:v>20</c:v>
                </c:pt>
                <c:pt idx="20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4B-466D-8354-4A7C10C76D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9565296"/>
        <c:axId val="799549520"/>
      </c:areaChart>
      <c:catAx>
        <c:axId val="79956529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9549520"/>
        <c:crosses val="autoZero"/>
        <c:auto val="1"/>
        <c:lblAlgn val="ctr"/>
        <c:lblOffset val="100"/>
        <c:noMultiLvlLbl val="0"/>
      </c:catAx>
      <c:valAx>
        <c:axId val="7995495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799565296"/>
        <c:crosses val="autoZero"/>
        <c:crossBetween val="midCat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+mn-lt"/>
          <a:ea typeface="+mn-ea"/>
          <a:cs typeface="+mn-ea"/>
          <a:sym typeface="+mn-lt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0</c:v>
                </c:pt>
                <c:pt idx="1">
                  <c:v>4</c:v>
                </c:pt>
                <c:pt idx="2">
                  <c:v>2</c:v>
                </c:pt>
                <c:pt idx="3">
                  <c:v>6</c:v>
                </c:pt>
                <c:pt idx="4">
                  <c:v>4</c:v>
                </c:pt>
                <c:pt idx="5">
                  <c:v>6</c:v>
                </c:pt>
                <c:pt idx="6">
                  <c:v>1</c:v>
                </c:pt>
                <c:pt idx="7">
                  <c:v>12</c:v>
                </c:pt>
                <c:pt idx="8">
                  <c:v>10</c:v>
                </c:pt>
                <c:pt idx="9">
                  <c:v>11</c:v>
                </c:pt>
                <c:pt idx="10">
                  <c:v>8</c:v>
                </c:pt>
                <c:pt idx="1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35-4477-94E9-AD34EEAD51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0</c:v>
                </c:pt>
                <c:pt idx="1">
                  <c:v>3</c:v>
                </c:pt>
                <c:pt idx="2">
                  <c:v>7</c:v>
                </c:pt>
                <c:pt idx="3">
                  <c:v>6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7">
                  <c:v>4</c:v>
                </c:pt>
                <c:pt idx="8">
                  <c:v>2</c:v>
                </c:pt>
                <c:pt idx="9">
                  <c:v>4</c:v>
                </c:pt>
                <c:pt idx="10">
                  <c:v>7</c:v>
                </c:pt>
                <c:pt idx="1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E35-4477-94E9-AD34EEAD51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0</c:v>
                </c:pt>
                <c:pt idx="5">
                  <c:v>4</c:v>
                </c:pt>
                <c:pt idx="6">
                  <c:v>3</c:v>
                </c:pt>
                <c:pt idx="7">
                  <c:v>5</c:v>
                </c:pt>
                <c:pt idx="8">
                  <c:v>0</c:v>
                </c:pt>
                <c:pt idx="9">
                  <c:v>4</c:v>
                </c:pt>
                <c:pt idx="10">
                  <c:v>3</c:v>
                </c:pt>
                <c:pt idx="1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E35-4477-94E9-AD34EEAD51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99566928"/>
        <c:axId val="799570736"/>
      </c:areaChart>
      <c:catAx>
        <c:axId val="7995669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99570736"/>
        <c:crosses val="autoZero"/>
        <c:auto val="1"/>
        <c:lblAlgn val="ctr"/>
        <c:lblOffset val="100"/>
        <c:noMultiLvlLbl val="0"/>
      </c:catAx>
      <c:valAx>
        <c:axId val="79957073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995669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chemeClr val="accent6"/>
            </a:solidFill>
            <a:ln w="19050">
              <a:noFill/>
            </a:ln>
            <a:effectLst/>
          </c:spPr>
          <c:dPt>
            <c:idx val="0"/>
            <c:bubble3D val="0"/>
            <c:spPr>
              <a:solidFill>
                <a:schemeClr val="accent1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BDE-4D27-A667-A39768CCBCBB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BDE-4D27-A667-A39768CCBCBB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9</c:v>
                </c:pt>
                <c:pt idx="1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ales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1st Qtr</c:v>
                      </c:pt>
                      <c:pt idx="1">
                        <c:v>2nd Qtr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5BDE-4D27-A667-A39768CCBC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2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chemeClr val="tx2"/>
            </a:solidFill>
            <a:ln w="19050"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1"/>
              </a:solidFill>
              <a:ln w="79375"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D32-497C-AC43-919F940A34D2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D32-497C-AC43-919F940A34D2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ales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1st Qtr</c:v>
                      </c:pt>
                      <c:pt idx="1">
                        <c:v>2nd Qtr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BD32-497C-AC43-919F940A34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44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52239-6C6F-472F-B175-F0FADCEE2BD3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FF5570-FE69-4FDF-99DA-8CDE436443CD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独一强调</a:t>
            </a:r>
            <a:r>
              <a:rPr lang="en-US" altLang="zh-CN" dirty="0" smtClean="0"/>
              <a:t>-</a:t>
            </a:r>
            <a:r>
              <a:rPr lang="zh-CN" altLang="en-US" dirty="0" smtClean="0"/>
              <a:t>倾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表格</a:t>
            </a:r>
            <a:r>
              <a:rPr lang="en-US" altLang="zh-CN" dirty="0" smtClean="0"/>
              <a:t>-</a:t>
            </a:r>
            <a:r>
              <a:rPr lang="zh-CN" altLang="en-US" dirty="0" smtClean="0"/>
              <a:t>上下版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 smtClean="0"/>
              <a:t>主次</a:t>
            </a:r>
            <a:r>
              <a:rPr lang="en-US" altLang="zh-CN" dirty="0" smtClean="0"/>
              <a:t>-</a:t>
            </a:r>
            <a:r>
              <a:rPr lang="zh-CN" altLang="en-US" dirty="0" smtClean="0"/>
              <a:t>左右版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单幅数据图</a:t>
            </a:r>
            <a:r>
              <a:rPr lang="en-US" altLang="zh-CN" dirty="0" smtClean="0"/>
              <a:t>-</a:t>
            </a:r>
            <a:r>
              <a:rPr lang="zh-CN" altLang="en-US" dirty="0" smtClean="0"/>
              <a:t>对角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单独强调数字</a:t>
            </a:r>
            <a:r>
              <a:rPr lang="en-US" altLang="zh-CN" dirty="0" smtClean="0"/>
              <a:t>-</a:t>
            </a:r>
            <a:r>
              <a:rPr lang="zh-CN" altLang="en-US" dirty="0" smtClean="0"/>
              <a:t>中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数据对比</a:t>
            </a:r>
            <a:r>
              <a:rPr lang="en-US" altLang="zh-CN" dirty="0" smtClean="0"/>
              <a:t>-</a:t>
            </a:r>
            <a:r>
              <a:rPr lang="zh-CN" altLang="en-US" dirty="0" smtClean="0"/>
              <a:t>左右版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图片</a:t>
            </a:r>
            <a:r>
              <a:rPr lang="en-US" altLang="zh-CN" dirty="0" smtClean="0"/>
              <a:t>-</a:t>
            </a:r>
            <a:r>
              <a:rPr lang="zh-CN" altLang="en-US" dirty="0" smtClean="0"/>
              <a:t>中轴版式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33D1B1-7E59-40EB-AFAB-4870D7D088A5}" type="slidenum">
              <a:rPr lang="en-US" smtClean="0"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7</a:t>
            </a:fld>
            <a:endParaRPr 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并列</a:t>
            </a:r>
            <a:r>
              <a:rPr lang="en-US" altLang="zh-CN" dirty="0" smtClean="0"/>
              <a:t>-</a:t>
            </a:r>
            <a:r>
              <a:rPr lang="zh-CN" altLang="en-US" dirty="0" smtClean="0"/>
              <a:t>并列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并列</a:t>
            </a:r>
            <a:r>
              <a:rPr lang="en-US" altLang="zh-CN" dirty="0" smtClean="0"/>
              <a:t>-</a:t>
            </a:r>
            <a:r>
              <a:rPr lang="zh-CN" altLang="en-US" dirty="0" smtClean="0"/>
              <a:t>并列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并列</a:t>
            </a:r>
            <a:r>
              <a:rPr lang="en-US" altLang="zh-CN" dirty="0" smtClean="0"/>
              <a:t>-</a:t>
            </a:r>
            <a:r>
              <a:rPr lang="zh-CN" altLang="en-US" dirty="0" smtClean="0"/>
              <a:t>并列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独一强调</a:t>
            </a:r>
            <a:r>
              <a:rPr lang="en-US" altLang="zh-CN" dirty="0" smtClean="0"/>
              <a:t>-</a:t>
            </a:r>
            <a:r>
              <a:rPr lang="zh-CN" altLang="en-US" dirty="0" smtClean="0"/>
              <a:t>倾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总分</a:t>
            </a:r>
            <a:r>
              <a:rPr lang="en-US" altLang="zh-CN" dirty="0" smtClean="0"/>
              <a:t>-</a:t>
            </a:r>
            <a:r>
              <a:rPr lang="zh-CN" altLang="en-US" dirty="0" smtClean="0"/>
              <a:t>对角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并列</a:t>
            </a:r>
            <a:r>
              <a:rPr lang="en-US" altLang="zh-CN" dirty="0" smtClean="0"/>
              <a:t>-S</a:t>
            </a:r>
            <a:r>
              <a:rPr lang="zh-CN" altLang="en-US" dirty="0" smtClean="0"/>
              <a:t>型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独一强调</a:t>
            </a:r>
            <a:r>
              <a:rPr lang="en-US" altLang="zh-CN" dirty="0" smtClean="0"/>
              <a:t>-</a:t>
            </a:r>
            <a:r>
              <a:rPr lang="zh-CN" altLang="en-US" dirty="0" smtClean="0"/>
              <a:t>倾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物的特性总分结构</a:t>
            </a:r>
            <a:r>
              <a:rPr lang="en-US" altLang="zh-CN" dirty="0" smtClean="0"/>
              <a:t>—</a:t>
            </a:r>
            <a:r>
              <a:rPr lang="zh-CN" altLang="en-US" dirty="0" smtClean="0"/>
              <a:t>中轴版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流程</a:t>
            </a:r>
            <a:r>
              <a:rPr lang="en-US" altLang="zh-CN" dirty="0" smtClean="0"/>
              <a:t>-</a:t>
            </a:r>
            <a:r>
              <a:rPr lang="zh-CN" altLang="en-US" dirty="0" smtClean="0"/>
              <a:t>中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多图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8"/>
          <p:cNvSpPr txBox="1"/>
          <p:nvPr userDrawn="1"/>
        </p:nvSpPr>
        <p:spPr>
          <a:xfrm>
            <a:off x="11194235" y="6492546"/>
            <a:ext cx="967207" cy="470263"/>
          </a:xfrm>
          <a:prstGeom prst="ellipse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68952F-5E95-44E1-9562-3F7BE09D45B9}" type="slidenum">
              <a:rPr lang="en-US" sz="1200" kern="1200" smtClean="0">
                <a:solidFill>
                  <a:srgbClr val="F0F6F4"/>
                </a:solidFill>
                <a:latin typeface="+mn-lt"/>
                <a:ea typeface="+mn-ea"/>
                <a:cs typeface="+mn-cs"/>
              </a:rPr>
              <a:t>‹#›</a:t>
            </a:fld>
            <a:endParaRPr lang="en-US" sz="1200" kern="1200" dirty="0">
              <a:solidFill>
                <a:srgbClr val="F0F6F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idx="1"/>
          </p:nvPr>
        </p:nvSpPr>
        <p:spPr>
          <a:xfrm>
            <a:off x="1802209" y="565967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0"/>
          </p:nvPr>
        </p:nvSpPr>
        <p:spPr>
          <a:xfrm>
            <a:off x="3330204" y="565967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1"/>
          </p:nvPr>
        </p:nvSpPr>
        <p:spPr>
          <a:xfrm>
            <a:off x="4847864" y="566211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12"/>
          </p:nvPr>
        </p:nvSpPr>
        <p:spPr>
          <a:xfrm>
            <a:off x="6385477" y="565967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idx="13"/>
          </p:nvPr>
        </p:nvSpPr>
        <p:spPr>
          <a:xfrm>
            <a:off x="7920205" y="565967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/>
          </p:nvPr>
        </p:nvSpPr>
        <p:spPr>
          <a:xfrm>
            <a:off x="9454933" y="5659471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Servic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9"/>
          <p:cNvSpPr>
            <a:spLocks noGrp="1"/>
          </p:cNvSpPr>
          <p:nvPr>
            <p:ph type="pic" sz="quarter" idx="11"/>
          </p:nvPr>
        </p:nvSpPr>
        <p:spPr>
          <a:xfrm>
            <a:off x="1752685" y="2193021"/>
            <a:ext cx="6092867" cy="2606040"/>
          </a:xfrm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91BEAA-E83B-49C9-B444-E8A2C7073AE8}" type="datetimeFigureOut">
              <a:rPr lang="zh-CN" altLang="en-US" smtClean="0"/>
              <a:t>2023-01-11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440E-9EBB-4A88-B8F5-D1059113BFE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23394" y="160479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23392" y="1508788"/>
            <a:ext cx="109452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65000"/>
                  </a:schemeClr>
                </a:solidFill>
              </a:rPr>
              <a:t>Tes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F42ADB-7D30-4CDA-A166-333DE990463F}" type="datetimeFigureOut">
              <a:rPr lang="en-US" smtClean="0"/>
              <a:t>1/11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3200" b="0" kern="1200">
          <a:solidFill>
            <a:schemeClr val="tx1">
              <a:lumMod val="65000"/>
              <a:lumOff val="35000"/>
            </a:schemeClr>
          </a:solidFill>
          <a:latin typeface="Source Sans Pro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0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05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5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4"/>
          <p:cNvSpPr/>
          <p:nvPr/>
        </p:nvSpPr>
        <p:spPr bwMode="auto">
          <a:xfrm rot="17744645" flipH="1" flipV="1">
            <a:off x="10175751" y="5571876"/>
            <a:ext cx="568800" cy="568603"/>
          </a:xfrm>
          <a:prstGeom prst="ellipse">
            <a:avLst/>
          </a:prstGeom>
          <a:noFill/>
          <a:ln w="28575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66" name="Freeform 4"/>
          <p:cNvSpPr/>
          <p:nvPr/>
        </p:nvSpPr>
        <p:spPr bwMode="auto">
          <a:xfrm rot="3640363" flipH="1" flipV="1">
            <a:off x="3613990" y="1026704"/>
            <a:ext cx="5294907" cy="5023272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Freeform 4"/>
          <p:cNvSpPr/>
          <p:nvPr/>
        </p:nvSpPr>
        <p:spPr bwMode="auto">
          <a:xfrm rot="6985901" flipH="1" flipV="1">
            <a:off x="4428729" y="164835"/>
            <a:ext cx="5866690" cy="6190915"/>
          </a:xfrm>
          <a:prstGeom prst="pentagon">
            <a:avLst/>
          </a:prstGeom>
          <a:solidFill>
            <a:schemeClr val="accent1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3" name="Content Placeholder 2"/>
          <p:cNvSpPr txBox="1"/>
          <p:nvPr/>
        </p:nvSpPr>
        <p:spPr>
          <a:xfrm>
            <a:off x="4846678" y="2234332"/>
            <a:ext cx="5410703" cy="16476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8000" b="1" dirty="0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论文答辩学术报告</a:t>
            </a:r>
            <a:endParaRPr lang="en-US" altLang="zh-CN" sz="8000" b="1" dirty="0">
              <a:solidFill>
                <a:schemeClr val="bg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65" name="Content Placeholder 2"/>
          <p:cNvSpPr txBox="1"/>
          <p:nvPr/>
        </p:nvSpPr>
        <p:spPr>
          <a:xfrm>
            <a:off x="9947668" y="455747"/>
            <a:ext cx="1703051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dirty="0" err="1" smtClean="0">
                <a:solidFill>
                  <a:schemeClr val="tx2"/>
                </a:solidFill>
                <a:latin typeface="+mn-ea"/>
                <a:sym typeface="Arial" panose="020B0604020202020204"/>
              </a:rPr>
              <a:t>Curabitur</a:t>
            </a:r>
            <a:r>
              <a:rPr lang="en-US" sz="1200" dirty="0" smtClean="0">
                <a:solidFill>
                  <a:schemeClr val="tx2"/>
                </a:solidFill>
                <a:latin typeface="+mn-ea"/>
                <a:sym typeface="Arial" panose="020B0604020202020204"/>
              </a:rPr>
              <a:t> </a:t>
            </a:r>
            <a:r>
              <a:rPr lang="en-US" sz="1200" dirty="0">
                <a:solidFill>
                  <a:schemeClr val="tx2"/>
                </a:solidFill>
                <a:latin typeface="+mn-ea"/>
                <a:sym typeface="Arial" panose="020B0604020202020204"/>
              </a:rPr>
              <a:t>elementum posuere pretium. </a:t>
            </a:r>
            <a:r>
              <a:rPr lang="en-US" sz="1200" dirty="0" err="1" smtClean="0">
                <a:solidFill>
                  <a:schemeClr val="tx2"/>
                </a:solidFill>
                <a:latin typeface="+mn-ea"/>
                <a:sym typeface="Arial" panose="020B0604020202020204"/>
              </a:rPr>
              <a:t>Quisque</a:t>
            </a:r>
            <a:endParaRPr lang="en-US" sz="1200" dirty="0">
              <a:solidFill>
                <a:schemeClr val="tx2"/>
              </a:solidFill>
              <a:latin typeface="+mn-ea"/>
              <a:sym typeface="Arial" panose="020B0604020202020204"/>
            </a:endParaRPr>
          </a:p>
        </p:txBody>
      </p:sp>
      <p:sp>
        <p:nvSpPr>
          <p:cNvPr id="17" name="Freeform 4"/>
          <p:cNvSpPr/>
          <p:nvPr/>
        </p:nvSpPr>
        <p:spPr bwMode="auto">
          <a:xfrm rot="17744645" flipH="1" flipV="1">
            <a:off x="10301924" y="5698008"/>
            <a:ext cx="316452" cy="316343"/>
          </a:xfrm>
          <a:prstGeom prst="ellipse">
            <a:avLst/>
          </a:prstGeom>
          <a:noFill/>
          <a:ln w="28575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Freeform 4"/>
          <p:cNvSpPr/>
          <p:nvPr/>
        </p:nvSpPr>
        <p:spPr bwMode="auto">
          <a:xfrm rot="17744645" flipH="1" flipV="1">
            <a:off x="9713751" y="-1370078"/>
            <a:ext cx="3226983" cy="3225871"/>
          </a:xfrm>
          <a:prstGeom prst="pentagon">
            <a:avLst/>
          </a:prstGeom>
          <a:noFill/>
          <a:ln w="12700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Freeform 4"/>
          <p:cNvSpPr/>
          <p:nvPr/>
        </p:nvSpPr>
        <p:spPr bwMode="auto">
          <a:xfrm rot="17744645" flipH="1" flipV="1">
            <a:off x="142180" y="5205890"/>
            <a:ext cx="2804742" cy="2257279"/>
          </a:xfrm>
          <a:prstGeom prst="rect">
            <a:avLst/>
          </a:prstGeom>
          <a:noFill/>
          <a:ln w="12700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71464" y="3550853"/>
            <a:ext cx="9289032" cy="3302009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rot="5400000">
            <a:off x="2851291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25"/>
          <p:cNvCxnSpPr/>
          <p:nvPr/>
        </p:nvCxnSpPr>
        <p:spPr>
          <a:xfrm flipH="1" flipV="1">
            <a:off x="1494741" y="4654489"/>
            <a:ext cx="8777723" cy="41879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2"/>
          <p:cNvSpPr txBox="1"/>
          <p:nvPr/>
        </p:nvSpPr>
        <p:spPr>
          <a:xfrm>
            <a:off x="1991512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16</a:t>
            </a:r>
            <a:r>
              <a:rPr lang="en-US" sz="28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%</a:t>
            </a:r>
          </a:p>
        </p:txBody>
      </p:sp>
      <p:sp>
        <p:nvSpPr>
          <p:cNvPr id="49" name="Content Placeholder 2"/>
          <p:cNvSpPr txBox="1"/>
          <p:nvPr/>
        </p:nvSpPr>
        <p:spPr>
          <a:xfrm>
            <a:off x="3318519" y="4908175"/>
            <a:ext cx="1113583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12</a:t>
            </a:r>
            <a:r>
              <a:rPr lang="en-US" sz="28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%</a:t>
            </a:r>
          </a:p>
        </p:txBody>
      </p:sp>
      <p:sp>
        <p:nvSpPr>
          <p:cNvPr id="57" name="Content Placeholder 2"/>
          <p:cNvSpPr txBox="1"/>
          <p:nvPr/>
        </p:nvSpPr>
        <p:spPr>
          <a:xfrm>
            <a:off x="6072170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</a:t>
            </a:r>
          </a:p>
        </p:txBody>
      </p:sp>
      <p:cxnSp>
        <p:nvCxnSpPr>
          <p:cNvPr id="61" name="Straight Connector 24"/>
          <p:cNvCxnSpPr/>
          <p:nvPr/>
        </p:nvCxnSpPr>
        <p:spPr>
          <a:xfrm rot="5400000">
            <a:off x="1511829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24"/>
          <p:cNvCxnSpPr/>
          <p:nvPr/>
        </p:nvCxnSpPr>
        <p:spPr>
          <a:xfrm rot="5400000">
            <a:off x="4190754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24"/>
          <p:cNvCxnSpPr/>
          <p:nvPr/>
        </p:nvCxnSpPr>
        <p:spPr>
          <a:xfrm rot="5400000">
            <a:off x="5530216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24"/>
          <p:cNvCxnSpPr/>
          <p:nvPr/>
        </p:nvCxnSpPr>
        <p:spPr>
          <a:xfrm rot="5400000">
            <a:off x="6869679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ontent Placeholder 2"/>
          <p:cNvSpPr txBox="1"/>
          <p:nvPr/>
        </p:nvSpPr>
        <p:spPr>
          <a:xfrm>
            <a:off x="4658187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16</a:t>
            </a:r>
            <a:r>
              <a:rPr lang="en-US" sz="28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%</a:t>
            </a:r>
          </a:p>
        </p:txBody>
      </p:sp>
      <p:sp>
        <p:nvSpPr>
          <p:cNvPr id="80" name="Content Placeholder 2"/>
          <p:cNvSpPr txBox="1"/>
          <p:nvPr/>
        </p:nvSpPr>
        <p:spPr>
          <a:xfrm>
            <a:off x="5985193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16</a:t>
            </a:r>
            <a:r>
              <a:rPr lang="en-US" sz="28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%</a:t>
            </a:r>
          </a:p>
        </p:txBody>
      </p:sp>
      <p:sp>
        <p:nvSpPr>
          <p:cNvPr id="81" name="Content Placeholder 2"/>
          <p:cNvSpPr txBox="1"/>
          <p:nvPr/>
        </p:nvSpPr>
        <p:spPr>
          <a:xfrm>
            <a:off x="7312199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16</a:t>
            </a:r>
            <a:r>
              <a:rPr lang="en-US" sz="28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%</a:t>
            </a:r>
          </a:p>
        </p:txBody>
      </p:sp>
      <p:sp>
        <p:nvSpPr>
          <p:cNvPr id="82" name="Content Placeholder 2"/>
          <p:cNvSpPr txBox="1"/>
          <p:nvPr/>
        </p:nvSpPr>
        <p:spPr>
          <a:xfrm>
            <a:off x="8639204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16</a:t>
            </a:r>
            <a:r>
              <a:rPr lang="en-US" sz="28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%</a:t>
            </a:r>
          </a:p>
        </p:txBody>
      </p:sp>
      <p:cxnSp>
        <p:nvCxnSpPr>
          <p:cNvPr id="83" name="Straight Connector 25"/>
          <p:cNvCxnSpPr/>
          <p:nvPr/>
        </p:nvCxnSpPr>
        <p:spPr>
          <a:xfrm flipH="1" flipV="1">
            <a:off x="1631504" y="5835045"/>
            <a:ext cx="8640961" cy="41227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 Placeholder 2"/>
          <p:cNvSpPr txBox="1"/>
          <p:nvPr/>
        </p:nvSpPr>
        <p:spPr>
          <a:xfrm>
            <a:off x="4771998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</a:t>
            </a:r>
          </a:p>
          <a:p>
            <a:pPr marL="0" indent="0" algn="ctr">
              <a:buNone/>
            </a:pPr>
            <a:endParaRPr lang="en-US" dirty="0">
              <a:solidFill>
                <a:schemeClr val="bg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85" name="Content Placeholder 2"/>
          <p:cNvSpPr txBox="1"/>
          <p:nvPr/>
        </p:nvSpPr>
        <p:spPr>
          <a:xfrm>
            <a:off x="3471826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</a:t>
            </a:r>
          </a:p>
        </p:txBody>
      </p:sp>
      <p:sp>
        <p:nvSpPr>
          <p:cNvPr id="86" name="Content Placeholder 2"/>
          <p:cNvSpPr txBox="1"/>
          <p:nvPr/>
        </p:nvSpPr>
        <p:spPr>
          <a:xfrm>
            <a:off x="2171654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olor</a:t>
            </a:r>
          </a:p>
        </p:txBody>
      </p:sp>
      <p:sp>
        <p:nvSpPr>
          <p:cNvPr id="87" name="Content Placeholder 2"/>
          <p:cNvSpPr txBox="1"/>
          <p:nvPr/>
        </p:nvSpPr>
        <p:spPr>
          <a:xfrm>
            <a:off x="7372342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</a:t>
            </a:r>
          </a:p>
        </p:txBody>
      </p:sp>
      <p:sp>
        <p:nvSpPr>
          <p:cNvPr id="88" name="Content Placeholder 2"/>
          <p:cNvSpPr txBox="1"/>
          <p:nvPr/>
        </p:nvSpPr>
        <p:spPr>
          <a:xfrm>
            <a:off x="8672512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altLang="zh-CN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</a:t>
            </a:r>
          </a:p>
        </p:txBody>
      </p:sp>
      <p:grpSp>
        <p:nvGrpSpPr>
          <p:cNvPr id="131" name="组合 130"/>
          <p:cNvGrpSpPr/>
          <p:nvPr/>
        </p:nvGrpSpPr>
        <p:grpSpPr>
          <a:xfrm>
            <a:off x="2369342" y="3862456"/>
            <a:ext cx="407988" cy="412750"/>
            <a:chOff x="6677026" y="2624138"/>
            <a:chExt cx="407988" cy="412750"/>
          </a:xfrm>
          <a:solidFill>
            <a:srgbClr val="FCFCFC"/>
          </a:solidFill>
        </p:grpSpPr>
        <p:sp>
          <p:nvSpPr>
            <p:cNvPr id="132" name="Freeform 517"/>
            <p:cNvSpPr/>
            <p:nvPr/>
          </p:nvSpPr>
          <p:spPr bwMode="auto">
            <a:xfrm>
              <a:off x="6711951" y="2905125"/>
              <a:ext cx="347663" cy="11271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5" y="16"/>
                </a:cxn>
                <a:cxn ang="0">
                  <a:pos x="21" y="32"/>
                </a:cxn>
                <a:cxn ang="0">
                  <a:pos x="92" y="32"/>
                </a:cxn>
                <a:cxn ang="0">
                  <a:pos x="103" y="19"/>
                </a:cxn>
                <a:cxn ang="0">
                  <a:pos x="94" y="0"/>
                </a:cxn>
                <a:cxn ang="0">
                  <a:pos x="11" y="0"/>
                </a:cxn>
              </a:cxnLst>
              <a:rect l="0" t="0" r="r" b="b"/>
              <a:pathLst>
                <a:path w="109" h="35">
                  <a:moveTo>
                    <a:pt x="11" y="0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0" y="32"/>
                    <a:pt x="21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109" y="35"/>
                    <a:pt x="103" y="19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3" name="Oval 518"/>
            <p:cNvSpPr>
              <a:spLocks noChangeArrowheads="1"/>
            </p:cNvSpPr>
            <p:nvPr/>
          </p:nvSpPr>
          <p:spPr bwMode="auto">
            <a:xfrm>
              <a:off x="6891339" y="2847975"/>
              <a:ext cx="41275" cy="444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4" name="Oval 519"/>
            <p:cNvSpPr>
              <a:spLocks noChangeArrowheads="1"/>
            </p:cNvSpPr>
            <p:nvPr/>
          </p:nvSpPr>
          <p:spPr bwMode="auto">
            <a:xfrm>
              <a:off x="6829426" y="2838450"/>
              <a:ext cx="42863" cy="41275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5" name="Oval 520"/>
            <p:cNvSpPr>
              <a:spLocks noChangeArrowheads="1"/>
            </p:cNvSpPr>
            <p:nvPr/>
          </p:nvSpPr>
          <p:spPr bwMode="auto">
            <a:xfrm>
              <a:off x="6878639" y="2806700"/>
              <a:ext cx="31750" cy="317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36" name="Freeform 521"/>
            <p:cNvSpPr>
              <a:spLocks noEditPoints="1"/>
            </p:cNvSpPr>
            <p:nvPr/>
          </p:nvSpPr>
          <p:spPr bwMode="auto">
            <a:xfrm>
              <a:off x="6677026" y="2624138"/>
              <a:ext cx="407988" cy="412750"/>
            </a:xfrm>
            <a:custGeom>
              <a:avLst/>
              <a:gdLst/>
              <a:ahLst/>
              <a:cxnLst>
                <a:cxn ang="0">
                  <a:pos x="124" y="106"/>
                </a:cxn>
                <a:cxn ang="0">
                  <a:pos x="82" y="33"/>
                </a:cxn>
                <a:cxn ang="0">
                  <a:pos x="82" y="9"/>
                </a:cxn>
                <a:cxn ang="0">
                  <a:pos x="83" y="9"/>
                </a:cxn>
                <a:cxn ang="0">
                  <a:pos x="88" y="4"/>
                </a:cxn>
                <a:cxn ang="0">
                  <a:pos x="83" y="0"/>
                </a:cxn>
                <a:cxn ang="0">
                  <a:pos x="45" y="0"/>
                </a:cxn>
                <a:cxn ang="0">
                  <a:pos x="41" y="4"/>
                </a:cxn>
                <a:cxn ang="0">
                  <a:pos x="45" y="9"/>
                </a:cxn>
                <a:cxn ang="0">
                  <a:pos x="47" y="9"/>
                </a:cxn>
                <a:cxn ang="0">
                  <a:pos x="47" y="33"/>
                </a:cxn>
                <a:cxn ang="0">
                  <a:pos x="5" y="106"/>
                </a:cxn>
                <a:cxn ang="0">
                  <a:pos x="18" y="129"/>
                </a:cxn>
                <a:cxn ang="0">
                  <a:pos x="110" y="129"/>
                </a:cxn>
                <a:cxn ang="0">
                  <a:pos x="124" y="106"/>
                </a:cxn>
                <a:cxn ang="0">
                  <a:pos x="102" y="120"/>
                </a:cxn>
                <a:cxn ang="0">
                  <a:pos x="33" y="120"/>
                </a:cxn>
                <a:cxn ang="0">
                  <a:pos x="17" y="104"/>
                </a:cxn>
                <a:cxn ang="0">
                  <a:pos x="25" y="89"/>
                </a:cxn>
                <a:cxn ang="0">
                  <a:pos x="54" y="38"/>
                </a:cxn>
                <a:cxn ang="0">
                  <a:pos x="55" y="36"/>
                </a:cxn>
                <a:cxn ang="0">
                  <a:pos x="73" y="36"/>
                </a:cxn>
                <a:cxn ang="0">
                  <a:pos x="74" y="38"/>
                </a:cxn>
                <a:cxn ang="0">
                  <a:pos x="104" y="90"/>
                </a:cxn>
                <a:cxn ang="0">
                  <a:pos x="113" y="107"/>
                </a:cxn>
                <a:cxn ang="0">
                  <a:pos x="102" y="120"/>
                </a:cxn>
              </a:cxnLst>
              <a:rect l="0" t="0" r="r" b="b"/>
              <a:pathLst>
                <a:path w="128" h="129">
                  <a:moveTo>
                    <a:pt x="124" y="106"/>
                  </a:moveTo>
                  <a:cubicBezTo>
                    <a:pt x="124" y="106"/>
                    <a:pt x="108" y="76"/>
                    <a:pt x="82" y="33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6" y="9"/>
                    <a:pt x="88" y="7"/>
                    <a:pt x="88" y="4"/>
                  </a:cubicBezTo>
                  <a:cubicBezTo>
                    <a:pt x="88" y="2"/>
                    <a:pt x="86" y="0"/>
                    <a:pt x="8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3" y="0"/>
                    <a:pt x="41" y="2"/>
                    <a:pt x="41" y="4"/>
                  </a:cubicBezTo>
                  <a:cubicBezTo>
                    <a:pt x="41" y="7"/>
                    <a:pt x="43" y="9"/>
                    <a:pt x="45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21" y="76"/>
                    <a:pt x="5" y="106"/>
                    <a:pt x="5" y="106"/>
                  </a:cubicBezTo>
                  <a:cubicBezTo>
                    <a:pt x="0" y="118"/>
                    <a:pt x="5" y="129"/>
                    <a:pt x="18" y="129"/>
                  </a:cubicBezTo>
                  <a:cubicBezTo>
                    <a:pt x="110" y="129"/>
                    <a:pt x="110" y="129"/>
                    <a:pt x="110" y="129"/>
                  </a:cubicBezTo>
                  <a:cubicBezTo>
                    <a:pt x="123" y="129"/>
                    <a:pt x="128" y="118"/>
                    <a:pt x="124" y="106"/>
                  </a:cubicBezTo>
                  <a:close/>
                  <a:moveTo>
                    <a:pt x="102" y="120"/>
                  </a:moveTo>
                  <a:cubicBezTo>
                    <a:pt x="33" y="120"/>
                    <a:pt x="33" y="120"/>
                    <a:pt x="33" y="120"/>
                  </a:cubicBezTo>
                  <a:cubicBezTo>
                    <a:pt x="12" y="120"/>
                    <a:pt x="17" y="104"/>
                    <a:pt x="17" y="104"/>
                  </a:cubicBezTo>
                  <a:cubicBezTo>
                    <a:pt x="17" y="104"/>
                    <a:pt x="22" y="93"/>
                    <a:pt x="25" y="89"/>
                  </a:cubicBezTo>
                  <a:cubicBezTo>
                    <a:pt x="27" y="85"/>
                    <a:pt x="47" y="49"/>
                    <a:pt x="54" y="38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81" y="49"/>
                    <a:pt x="103" y="88"/>
                    <a:pt x="104" y="90"/>
                  </a:cubicBezTo>
                  <a:cubicBezTo>
                    <a:pt x="105" y="92"/>
                    <a:pt x="113" y="107"/>
                    <a:pt x="113" y="107"/>
                  </a:cubicBezTo>
                  <a:cubicBezTo>
                    <a:pt x="119" y="123"/>
                    <a:pt x="102" y="120"/>
                    <a:pt x="102" y="120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138" name="Freeform 33"/>
          <p:cNvSpPr>
            <a:spLocks noEditPoints="1"/>
          </p:cNvSpPr>
          <p:nvPr/>
        </p:nvSpPr>
        <p:spPr bwMode="auto">
          <a:xfrm>
            <a:off x="6277792" y="3862456"/>
            <a:ext cx="495172" cy="396412"/>
          </a:xfrm>
          <a:custGeom>
            <a:avLst/>
            <a:gdLst>
              <a:gd name="T0" fmla="*/ 200 w 400"/>
              <a:gd name="T1" fmla="*/ 120 h 320"/>
              <a:gd name="T2" fmla="*/ 140 w 400"/>
              <a:gd name="T3" fmla="*/ 180 h 320"/>
              <a:gd name="T4" fmla="*/ 200 w 400"/>
              <a:gd name="T5" fmla="*/ 240 h 320"/>
              <a:gd name="T6" fmla="*/ 260 w 400"/>
              <a:gd name="T7" fmla="*/ 180 h 320"/>
              <a:gd name="T8" fmla="*/ 200 w 400"/>
              <a:gd name="T9" fmla="*/ 120 h 320"/>
              <a:gd name="T10" fmla="*/ 360 w 400"/>
              <a:gd name="T11" fmla="*/ 60 h 320"/>
              <a:gd name="T12" fmla="*/ 312 w 400"/>
              <a:gd name="T13" fmla="*/ 60 h 320"/>
              <a:gd name="T14" fmla="*/ 296 w 400"/>
              <a:gd name="T15" fmla="*/ 49 h 320"/>
              <a:gd name="T16" fmla="*/ 284 w 400"/>
              <a:gd name="T17" fmla="*/ 11 h 320"/>
              <a:gd name="T18" fmla="*/ 268 w 400"/>
              <a:gd name="T19" fmla="*/ 0 h 320"/>
              <a:gd name="T20" fmla="*/ 132 w 400"/>
              <a:gd name="T21" fmla="*/ 0 h 320"/>
              <a:gd name="T22" fmla="*/ 116 w 400"/>
              <a:gd name="T23" fmla="*/ 11 h 320"/>
              <a:gd name="T24" fmla="*/ 104 w 400"/>
              <a:gd name="T25" fmla="*/ 49 h 320"/>
              <a:gd name="T26" fmla="*/ 88 w 400"/>
              <a:gd name="T27" fmla="*/ 60 h 320"/>
              <a:gd name="T28" fmla="*/ 40 w 400"/>
              <a:gd name="T29" fmla="*/ 60 h 320"/>
              <a:gd name="T30" fmla="*/ 0 w 400"/>
              <a:gd name="T31" fmla="*/ 100 h 320"/>
              <a:gd name="T32" fmla="*/ 0 w 400"/>
              <a:gd name="T33" fmla="*/ 280 h 320"/>
              <a:gd name="T34" fmla="*/ 40 w 400"/>
              <a:gd name="T35" fmla="*/ 320 h 320"/>
              <a:gd name="T36" fmla="*/ 360 w 400"/>
              <a:gd name="T37" fmla="*/ 320 h 320"/>
              <a:gd name="T38" fmla="*/ 400 w 400"/>
              <a:gd name="T39" fmla="*/ 280 h 320"/>
              <a:gd name="T40" fmla="*/ 400 w 400"/>
              <a:gd name="T41" fmla="*/ 100 h 320"/>
              <a:gd name="T42" fmla="*/ 360 w 400"/>
              <a:gd name="T43" fmla="*/ 60 h 320"/>
              <a:gd name="T44" fmla="*/ 200 w 400"/>
              <a:gd name="T45" fmla="*/ 280 h 320"/>
              <a:gd name="T46" fmla="*/ 100 w 400"/>
              <a:gd name="T47" fmla="*/ 180 h 320"/>
              <a:gd name="T48" fmla="*/ 200 w 400"/>
              <a:gd name="T49" fmla="*/ 80 h 320"/>
              <a:gd name="T50" fmla="*/ 300 w 400"/>
              <a:gd name="T51" fmla="*/ 180 h 320"/>
              <a:gd name="T52" fmla="*/ 200 w 400"/>
              <a:gd name="T53" fmla="*/ 280 h 320"/>
              <a:gd name="T54" fmla="*/ 346 w 400"/>
              <a:gd name="T55" fmla="*/ 128 h 320"/>
              <a:gd name="T56" fmla="*/ 332 w 400"/>
              <a:gd name="T57" fmla="*/ 114 h 320"/>
              <a:gd name="T58" fmla="*/ 346 w 400"/>
              <a:gd name="T59" fmla="*/ 100 h 320"/>
              <a:gd name="T60" fmla="*/ 360 w 400"/>
              <a:gd name="T61" fmla="*/ 114 h 320"/>
              <a:gd name="T62" fmla="*/ 346 w 400"/>
              <a:gd name="T63" fmla="*/ 12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00" h="320">
                <a:moveTo>
                  <a:pt x="200" y="120"/>
                </a:moveTo>
                <a:cubicBezTo>
                  <a:pt x="167" y="120"/>
                  <a:pt x="140" y="147"/>
                  <a:pt x="140" y="180"/>
                </a:cubicBezTo>
                <a:cubicBezTo>
                  <a:pt x="140" y="213"/>
                  <a:pt x="167" y="240"/>
                  <a:pt x="200" y="240"/>
                </a:cubicBezTo>
                <a:cubicBezTo>
                  <a:pt x="233" y="240"/>
                  <a:pt x="260" y="213"/>
                  <a:pt x="260" y="180"/>
                </a:cubicBezTo>
                <a:cubicBezTo>
                  <a:pt x="260" y="147"/>
                  <a:pt x="233" y="120"/>
                  <a:pt x="200" y="120"/>
                </a:cubicBezTo>
                <a:close/>
                <a:moveTo>
                  <a:pt x="360" y="60"/>
                </a:moveTo>
                <a:cubicBezTo>
                  <a:pt x="312" y="60"/>
                  <a:pt x="312" y="60"/>
                  <a:pt x="312" y="60"/>
                </a:cubicBezTo>
                <a:cubicBezTo>
                  <a:pt x="305" y="60"/>
                  <a:pt x="298" y="55"/>
                  <a:pt x="296" y="49"/>
                </a:cubicBezTo>
                <a:cubicBezTo>
                  <a:pt x="284" y="11"/>
                  <a:pt x="284" y="11"/>
                  <a:pt x="284" y="11"/>
                </a:cubicBezTo>
                <a:cubicBezTo>
                  <a:pt x="281" y="5"/>
                  <a:pt x="274" y="0"/>
                  <a:pt x="268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25" y="0"/>
                  <a:pt x="118" y="5"/>
                  <a:pt x="116" y="11"/>
                </a:cubicBezTo>
                <a:cubicBezTo>
                  <a:pt x="104" y="49"/>
                  <a:pt x="104" y="49"/>
                  <a:pt x="104" y="49"/>
                </a:cubicBezTo>
                <a:cubicBezTo>
                  <a:pt x="101" y="55"/>
                  <a:pt x="94" y="60"/>
                  <a:pt x="88" y="60"/>
                </a:cubicBezTo>
                <a:cubicBezTo>
                  <a:pt x="40" y="60"/>
                  <a:pt x="40" y="60"/>
                  <a:pt x="40" y="60"/>
                </a:cubicBezTo>
                <a:cubicBezTo>
                  <a:pt x="18" y="60"/>
                  <a:pt x="0" y="78"/>
                  <a:pt x="0" y="100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302"/>
                  <a:pt x="18" y="320"/>
                  <a:pt x="40" y="320"/>
                </a:cubicBezTo>
                <a:cubicBezTo>
                  <a:pt x="360" y="320"/>
                  <a:pt x="360" y="320"/>
                  <a:pt x="360" y="320"/>
                </a:cubicBezTo>
                <a:cubicBezTo>
                  <a:pt x="382" y="320"/>
                  <a:pt x="400" y="302"/>
                  <a:pt x="400" y="280"/>
                </a:cubicBezTo>
                <a:cubicBezTo>
                  <a:pt x="400" y="100"/>
                  <a:pt x="400" y="100"/>
                  <a:pt x="400" y="100"/>
                </a:cubicBezTo>
                <a:cubicBezTo>
                  <a:pt x="400" y="78"/>
                  <a:pt x="382" y="60"/>
                  <a:pt x="360" y="60"/>
                </a:cubicBezTo>
                <a:close/>
                <a:moveTo>
                  <a:pt x="200" y="280"/>
                </a:moveTo>
                <a:cubicBezTo>
                  <a:pt x="145" y="280"/>
                  <a:pt x="100" y="235"/>
                  <a:pt x="100" y="180"/>
                </a:cubicBezTo>
                <a:cubicBezTo>
                  <a:pt x="100" y="125"/>
                  <a:pt x="145" y="80"/>
                  <a:pt x="200" y="80"/>
                </a:cubicBezTo>
                <a:cubicBezTo>
                  <a:pt x="255" y="80"/>
                  <a:pt x="300" y="125"/>
                  <a:pt x="300" y="180"/>
                </a:cubicBezTo>
                <a:cubicBezTo>
                  <a:pt x="300" y="235"/>
                  <a:pt x="255" y="280"/>
                  <a:pt x="200" y="280"/>
                </a:cubicBezTo>
                <a:close/>
                <a:moveTo>
                  <a:pt x="346" y="128"/>
                </a:moveTo>
                <a:cubicBezTo>
                  <a:pt x="338" y="128"/>
                  <a:pt x="332" y="122"/>
                  <a:pt x="332" y="114"/>
                </a:cubicBezTo>
                <a:cubicBezTo>
                  <a:pt x="332" y="106"/>
                  <a:pt x="338" y="100"/>
                  <a:pt x="346" y="100"/>
                </a:cubicBezTo>
                <a:cubicBezTo>
                  <a:pt x="354" y="100"/>
                  <a:pt x="360" y="106"/>
                  <a:pt x="360" y="114"/>
                </a:cubicBezTo>
                <a:cubicBezTo>
                  <a:pt x="360" y="122"/>
                  <a:pt x="354" y="128"/>
                  <a:pt x="346" y="12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/>
          </a:p>
        </p:txBody>
      </p:sp>
      <p:sp>
        <p:nvSpPr>
          <p:cNvPr id="139" name="Freeform 22"/>
          <p:cNvSpPr>
            <a:spLocks noEditPoints="1"/>
          </p:cNvSpPr>
          <p:nvPr/>
        </p:nvSpPr>
        <p:spPr bwMode="auto">
          <a:xfrm>
            <a:off x="7635292" y="3862456"/>
            <a:ext cx="428451" cy="428628"/>
          </a:xfrm>
          <a:custGeom>
            <a:avLst/>
            <a:gdLst>
              <a:gd name="T0" fmla="*/ 287 w 316"/>
              <a:gd name="T1" fmla="*/ 29 h 316"/>
              <a:gd name="T2" fmla="*/ 236 w 316"/>
              <a:gd name="T3" fmla="*/ 4 h 316"/>
              <a:gd name="T4" fmla="*/ 135 w 316"/>
              <a:gd name="T5" fmla="*/ 105 h 316"/>
              <a:gd name="T6" fmla="*/ 20 w 316"/>
              <a:gd name="T7" fmla="*/ 221 h 316"/>
              <a:gd name="T8" fmla="*/ 0 w 316"/>
              <a:gd name="T9" fmla="*/ 316 h 316"/>
              <a:gd name="T10" fmla="*/ 95 w 316"/>
              <a:gd name="T11" fmla="*/ 296 h 316"/>
              <a:gd name="T12" fmla="*/ 210 w 316"/>
              <a:gd name="T13" fmla="*/ 180 h 316"/>
              <a:gd name="T14" fmla="*/ 312 w 316"/>
              <a:gd name="T15" fmla="*/ 79 h 316"/>
              <a:gd name="T16" fmla="*/ 287 w 316"/>
              <a:gd name="T17" fmla="*/ 29 h 316"/>
              <a:gd name="T18" fmla="*/ 89 w 316"/>
              <a:gd name="T19" fmla="*/ 284 h 316"/>
              <a:gd name="T20" fmla="*/ 57 w 316"/>
              <a:gd name="T21" fmla="*/ 291 h 316"/>
              <a:gd name="T22" fmla="*/ 43 w 316"/>
              <a:gd name="T23" fmla="*/ 273 h 316"/>
              <a:gd name="T24" fmla="*/ 24 w 316"/>
              <a:gd name="T25" fmla="*/ 259 h 316"/>
              <a:gd name="T26" fmla="*/ 31 w 316"/>
              <a:gd name="T27" fmla="*/ 226 h 316"/>
              <a:gd name="T28" fmla="*/ 41 w 316"/>
              <a:gd name="T29" fmla="*/ 217 h 316"/>
              <a:gd name="T30" fmla="*/ 78 w 316"/>
              <a:gd name="T31" fmla="*/ 237 h 316"/>
              <a:gd name="T32" fmla="*/ 99 w 316"/>
              <a:gd name="T33" fmla="*/ 275 h 316"/>
              <a:gd name="T34" fmla="*/ 89 w 316"/>
              <a:gd name="T35" fmla="*/ 284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16" h="316">
                <a:moveTo>
                  <a:pt x="287" y="29"/>
                </a:moveTo>
                <a:cubicBezTo>
                  <a:pt x="258" y="0"/>
                  <a:pt x="236" y="4"/>
                  <a:pt x="236" y="4"/>
                </a:cubicBezTo>
                <a:cubicBezTo>
                  <a:pt x="135" y="105"/>
                  <a:pt x="135" y="105"/>
                  <a:pt x="135" y="105"/>
                </a:cubicBezTo>
                <a:cubicBezTo>
                  <a:pt x="20" y="221"/>
                  <a:pt x="20" y="221"/>
                  <a:pt x="20" y="221"/>
                </a:cubicBezTo>
                <a:cubicBezTo>
                  <a:pt x="0" y="316"/>
                  <a:pt x="0" y="316"/>
                  <a:pt x="0" y="316"/>
                </a:cubicBezTo>
                <a:cubicBezTo>
                  <a:pt x="95" y="296"/>
                  <a:pt x="95" y="296"/>
                  <a:pt x="95" y="296"/>
                </a:cubicBezTo>
                <a:cubicBezTo>
                  <a:pt x="210" y="180"/>
                  <a:pt x="210" y="180"/>
                  <a:pt x="210" y="180"/>
                </a:cubicBezTo>
                <a:cubicBezTo>
                  <a:pt x="312" y="79"/>
                  <a:pt x="312" y="79"/>
                  <a:pt x="312" y="79"/>
                </a:cubicBezTo>
                <a:cubicBezTo>
                  <a:pt x="312" y="79"/>
                  <a:pt x="316" y="58"/>
                  <a:pt x="287" y="29"/>
                </a:cubicBezTo>
                <a:close/>
                <a:moveTo>
                  <a:pt x="89" y="284"/>
                </a:moveTo>
                <a:cubicBezTo>
                  <a:pt x="57" y="291"/>
                  <a:pt x="57" y="291"/>
                  <a:pt x="57" y="291"/>
                </a:cubicBezTo>
                <a:cubicBezTo>
                  <a:pt x="54" y="285"/>
                  <a:pt x="50" y="280"/>
                  <a:pt x="43" y="273"/>
                </a:cubicBezTo>
                <a:cubicBezTo>
                  <a:pt x="36" y="266"/>
                  <a:pt x="30" y="262"/>
                  <a:pt x="24" y="259"/>
                </a:cubicBezTo>
                <a:cubicBezTo>
                  <a:pt x="31" y="226"/>
                  <a:pt x="31" y="226"/>
                  <a:pt x="31" y="226"/>
                </a:cubicBezTo>
                <a:cubicBezTo>
                  <a:pt x="41" y="217"/>
                  <a:pt x="41" y="217"/>
                  <a:pt x="41" y="217"/>
                </a:cubicBezTo>
                <a:cubicBezTo>
                  <a:pt x="41" y="217"/>
                  <a:pt x="58" y="217"/>
                  <a:pt x="78" y="237"/>
                </a:cubicBezTo>
                <a:cubicBezTo>
                  <a:pt x="98" y="257"/>
                  <a:pt x="99" y="275"/>
                  <a:pt x="99" y="275"/>
                </a:cubicBezTo>
                <a:lnTo>
                  <a:pt x="89" y="28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000" dirty="0"/>
          </a:p>
        </p:txBody>
      </p:sp>
      <p:grpSp>
        <p:nvGrpSpPr>
          <p:cNvPr id="140" name="组合 139"/>
          <p:cNvGrpSpPr>
            <a:grpSpLocks noChangeAspect="1"/>
          </p:cNvGrpSpPr>
          <p:nvPr/>
        </p:nvGrpSpPr>
        <p:grpSpPr>
          <a:xfrm>
            <a:off x="3670306" y="3862456"/>
            <a:ext cx="321471" cy="428628"/>
            <a:chOff x="4837113" y="2881313"/>
            <a:chExt cx="709612" cy="946150"/>
          </a:xfrm>
        </p:grpSpPr>
        <p:sp>
          <p:nvSpPr>
            <p:cNvPr id="141" name="Freeform 219"/>
            <p:cNvSpPr/>
            <p:nvPr/>
          </p:nvSpPr>
          <p:spPr bwMode="auto">
            <a:xfrm>
              <a:off x="4837113" y="2881313"/>
              <a:ext cx="709612" cy="942975"/>
            </a:xfrm>
            <a:custGeom>
              <a:avLst/>
              <a:gdLst/>
              <a:ahLst/>
              <a:cxnLst>
                <a:cxn ang="0">
                  <a:pos x="317" y="594"/>
                </a:cxn>
                <a:cxn ang="0">
                  <a:pos x="0" y="594"/>
                </a:cxn>
                <a:cxn ang="0">
                  <a:pos x="0" y="0"/>
                </a:cxn>
                <a:cxn ang="0">
                  <a:pos x="447" y="0"/>
                </a:cxn>
                <a:cxn ang="0">
                  <a:pos x="447" y="480"/>
                </a:cxn>
                <a:cxn ang="0">
                  <a:pos x="317" y="594"/>
                </a:cxn>
              </a:cxnLst>
              <a:rect l="0" t="0" r="r" b="b"/>
              <a:pathLst>
                <a:path w="447" h="594">
                  <a:moveTo>
                    <a:pt x="317" y="594"/>
                  </a:moveTo>
                  <a:lnTo>
                    <a:pt x="0" y="594"/>
                  </a:lnTo>
                  <a:lnTo>
                    <a:pt x="0" y="0"/>
                  </a:lnTo>
                  <a:lnTo>
                    <a:pt x="447" y="0"/>
                  </a:lnTo>
                  <a:lnTo>
                    <a:pt x="447" y="480"/>
                  </a:lnTo>
                  <a:lnTo>
                    <a:pt x="317" y="59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3" name="Freeform 221"/>
            <p:cNvSpPr/>
            <p:nvPr/>
          </p:nvSpPr>
          <p:spPr bwMode="auto">
            <a:xfrm>
              <a:off x="5324475" y="3643313"/>
              <a:ext cx="222250" cy="184150"/>
            </a:xfrm>
            <a:custGeom>
              <a:avLst/>
              <a:gdLst/>
              <a:ahLst/>
              <a:cxnLst>
                <a:cxn ang="0">
                  <a:pos x="140" y="0"/>
                </a:cxn>
                <a:cxn ang="0">
                  <a:pos x="0" y="0"/>
                </a:cxn>
                <a:cxn ang="0">
                  <a:pos x="0" y="116"/>
                </a:cxn>
                <a:cxn ang="0">
                  <a:pos x="140" y="0"/>
                </a:cxn>
              </a:cxnLst>
              <a:rect l="0" t="0" r="r" b="b"/>
              <a:pathLst>
                <a:path w="140" h="116">
                  <a:moveTo>
                    <a:pt x="140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4" name="Rectangle 222"/>
            <p:cNvSpPr>
              <a:spLocks noChangeArrowheads="1"/>
            </p:cNvSpPr>
            <p:nvPr/>
          </p:nvSpPr>
          <p:spPr bwMode="auto">
            <a:xfrm>
              <a:off x="4945063" y="3008313"/>
              <a:ext cx="503237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5" name="Freeform 223"/>
            <p:cNvSpPr/>
            <p:nvPr/>
          </p:nvSpPr>
          <p:spPr bwMode="auto">
            <a:xfrm>
              <a:off x="4945063" y="3008313"/>
              <a:ext cx="503237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17" y="10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10">
                  <a:moveTo>
                    <a:pt x="0" y="10"/>
                  </a:moveTo>
                  <a:lnTo>
                    <a:pt x="317" y="10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6" name="Rectangle 224"/>
            <p:cNvSpPr>
              <a:spLocks noChangeArrowheads="1"/>
            </p:cNvSpPr>
            <p:nvPr/>
          </p:nvSpPr>
          <p:spPr bwMode="auto">
            <a:xfrm>
              <a:off x="4945063" y="3125788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7" name="Freeform 225"/>
            <p:cNvSpPr/>
            <p:nvPr/>
          </p:nvSpPr>
          <p:spPr bwMode="auto">
            <a:xfrm>
              <a:off x="4945063" y="3125788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8" name="Rectangle 226"/>
            <p:cNvSpPr>
              <a:spLocks noChangeArrowheads="1"/>
            </p:cNvSpPr>
            <p:nvPr/>
          </p:nvSpPr>
          <p:spPr bwMode="auto">
            <a:xfrm>
              <a:off x="4945063" y="3241675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49" name="Freeform 227"/>
            <p:cNvSpPr/>
            <p:nvPr/>
          </p:nvSpPr>
          <p:spPr bwMode="auto">
            <a:xfrm>
              <a:off x="4945063" y="3241675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0" name="Rectangle 228"/>
            <p:cNvSpPr>
              <a:spLocks noChangeArrowheads="1"/>
            </p:cNvSpPr>
            <p:nvPr/>
          </p:nvSpPr>
          <p:spPr bwMode="auto">
            <a:xfrm>
              <a:off x="4945063" y="3362325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1" name="Freeform 229"/>
            <p:cNvSpPr/>
            <p:nvPr/>
          </p:nvSpPr>
          <p:spPr bwMode="auto">
            <a:xfrm>
              <a:off x="4945063" y="3362325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2" name="Rectangle 230"/>
            <p:cNvSpPr>
              <a:spLocks noChangeArrowheads="1"/>
            </p:cNvSpPr>
            <p:nvPr/>
          </p:nvSpPr>
          <p:spPr bwMode="auto">
            <a:xfrm>
              <a:off x="4945063" y="3478213"/>
              <a:ext cx="503237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3" name="Freeform 231"/>
            <p:cNvSpPr/>
            <p:nvPr/>
          </p:nvSpPr>
          <p:spPr bwMode="auto">
            <a:xfrm>
              <a:off x="4945063" y="3478213"/>
              <a:ext cx="503237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17" y="10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10">
                  <a:moveTo>
                    <a:pt x="0" y="10"/>
                  </a:moveTo>
                  <a:lnTo>
                    <a:pt x="317" y="10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4" name="Rectangle 232"/>
            <p:cNvSpPr>
              <a:spLocks noChangeArrowheads="1"/>
            </p:cNvSpPr>
            <p:nvPr/>
          </p:nvSpPr>
          <p:spPr bwMode="auto">
            <a:xfrm>
              <a:off x="4945063" y="3598863"/>
              <a:ext cx="282575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5" name="Freeform 233"/>
            <p:cNvSpPr/>
            <p:nvPr/>
          </p:nvSpPr>
          <p:spPr bwMode="auto">
            <a:xfrm>
              <a:off x="4945063" y="3598863"/>
              <a:ext cx="282575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8" y="9"/>
                </a:cxn>
                <a:cxn ang="0">
                  <a:pos x="178" y="0"/>
                </a:cxn>
                <a:cxn ang="0">
                  <a:pos x="0" y="0"/>
                </a:cxn>
              </a:cxnLst>
              <a:rect l="0" t="0" r="r" b="b"/>
              <a:pathLst>
                <a:path w="178" h="9">
                  <a:moveTo>
                    <a:pt x="0" y="9"/>
                  </a:moveTo>
                  <a:lnTo>
                    <a:pt x="178" y="9"/>
                  </a:lnTo>
                  <a:lnTo>
                    <a:pt x="178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6" name="Rectangle 234"/>
            <p:cNvSpPr>
              <a:spLocks noChangeArrowheads="1"/>
            </p:cNvSpPr>
            <p:nvPr/>
          </p:nvSpPr>
          <p:spPr bwMode="auto">
            <a:xfrm>
              <a:off x="4945063" y="3714750"/>
              <a:ext cx="247650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57" name="Freeform 235"/>
            <p:cNvSpPr/>
            <p:nvPr/>
          </p:nvSpPr>
          <p:spPr bwMode="auto">
            <a:xfrm>
              <a:off x="4945063" y="3714750"/>
              <a:ext cx="247650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56" y="10"/>
                </a:cxn>
                <a:cxn ang="0">
                  <a:pos x="156" y="0"/>
                </a:cxn>
                <a:cxn ang="0">
                  <a:pos x="0" y="0"/>
                </a:cxn>
              </a:cxnLst>
              <a:rect l="0" t="0" r="r" b="b"/>
              <a:pathLst>
                <a:path w="156" h="10">
                  <a:moveTo>
                    <a:pt x="0" y="10"/>
                  </a:moveTo>
                  <a:lnTo>
                    <a:pt x="156" y="10"/>
                  </a:lnTo>
                  <a:lnTo>
                    <a:pt x="156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grpSp>
        <p:nvGrpSpPr>
          <p:cNvPr id="158" name="组合 157"/>
          <p:cNvGrpSpPr>
            <a:grpSpLocks noChangeAspect="1"/>
          </p:cNvGrpSpPr>
          <p:nvPr/>
        </p:nvGrpSpPr>
        <p:grpSpPr>
          <a:xfrm>
            <a:off x="4978346" y="3862457"/>
            <a:ext cx="513628" cy="409667"/>
            <a:chOff x="2908300" y="957263"/>
            <a:chExt cx="1450975" cy="1157288"/>
          </a:xfrm>
          <a:solidFill>
            <a:srgbClr val="FCFCFC"/>
          </a:solidFill>
        </p:grpSpPr>
        <p:sp>
          <p:nvSpPr>
            <p:cNvPr id="159" name="Rectangle 146"/>
            <p:cNvSpPr>
              <a:spLocks noChangeArrowheads="1"/>
            </p:cNvSpPr>
            <p:nvPr/>
          </p:nvSpPr>
          <p:spPr bwMode="auto">
            <a:xfrm>
              <a:off x="3468688" y="1900238"/>
              <a:ext cx="327025" cy="112713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0" name="Rectangle 147"/>
            <p:cNvSpPr>
              <a:spLocks noChangeArrowheads="1"/>
            </p:cNvSpPr>
            <p:nvPr/>
          </p:nvSpPr>
          <p:spPr bwMode="auto">
            <a:xfrm>
              <a:off x="3402013" y="2081213"/>
              <a:ext cx="461962" cy="33338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1" name="Rectangle 148"/>
            <p:cNvSpPr>
              <a:spLocks noChangeArrowheads="1"/>
            </p:cNvSpPr>
            <p:nvPr/>
          </p:nvSpPr>
          <p:spPr bwMode="auto">
            <a:xfrm>
              <a:off x="3468688" y="1881188"/>
              <a:ext cx="327025" cy="19050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2" name="Freeform 149"/>
            <p:cNvSpPr/>
            <p:nvPr/>
          </p:nvSpPr>
          <p:spPr bwMode="auto">
            <a:xfrm>
              <a:off x="3402013" y="2012950"/>
              <a:ext cx="461962" cy="68263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291" y="43"/>
                </a:cxn>
                <a:cxn ang="0">
                  <a:pos x="248" y="0"/>
                </a:cxn>
                <a:cxn ang="0">
                  <a:pos x="42" y="0"/>
                </a:cxn>
                <a:cxn ang="0">
                  <a:pos x="0" y="43"/>
                </a:cxn>
              </a:cxnLst>
              <a:rect l="0" t="0" r="r" b="b"/>
              <a:pathLst>
                <a:path w="291" h="43">
                  <a:moveTo>
                    <a:pt x="0" y="43"/>
                  </a:moveTo>
                  <a:lnTo>
                    <a:pt x="291" y="43"/>
                  </a:lnTo>
                  <a:lnTo>
                    <a:pt x="248" y="0"/>
                  </a:lnTo>
                  <a:lnTo>
                    <a:pt x="42" y="0"/>
                  </a:lnTo>
                  <a:lnTo>
                    <a:pt x="0" y="43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3" name="Freeform 151"/>
            <p:cNvSpPr>
              <a:spLocks noEditPoints="1"/>
            </p:cNvSpPr>
            <p:nvPr/>
          </p:nvSpPr>
          <p:spPr bwMode="auto">
            <a:xfrm>
              <a:off x="2908300" y="1700213"/>
              <a:ext cx="1450975" cy="180975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0" y="0"/>
                </a:cxn>
                <a:cxn ang="0">
                  <a:pos x="0" y="31"/>
                </a:cxn>
                <a:cxn ang="0">
                  <a:pos x="17" y="48"/>
                </a:cxn>
                <a:cxn ang="0">
                  <a:pos x="149" y="48"/>
                </a:cxn>
                <a:cxn ang="0">
                  <a:pos x="236" y="48"/>
                </a:cxn>
                <a:cxn ang="0">
                  <a:pos x="368" y="48"/>
                </a:cxn>
                <a:cxn ang="0">
                  <a:pos x="386" y="31"/>
                </a:cxn>
                <a:cxn ang="0">
                  <a:pos x="386" y="0"/>
                </a:cxn>
                <a:cxn ang="0">
                  <a:pos x="228" y="28"/>
                </a:cxn>
                <a:cxn ang="0">
                  <a:pos x="157" y="28"/>
                </a:cxn>
                <a:cxn ang="0">
                  <a:pos x="157" y="20"/>
                </a:cxn>
                <a:cxn ang="0">
                  <a:pos x="228" y="20"/>
                </a:cxn>
                <a:cxn ang="0">
                  <a:pos x="228" y="28"/>
                </a:cxn>
              </a:cxnLst>
              <a:rect l="0" t="0" r="r" b="b"/>
              <a:pathLst>
                <a:path w="386" h="48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22"/>
                    <a:pt x="0" y="31"/>
                  </a:cubicBezTo>
                  <a:cubicBezTo>
                    <a:pt x="0" y="40"/>
                    <a:pt x="7" y="48"/>
                    <a:pt x="17" y="48"/>
                  </a:cubicBezTo>
                  <a:cubicBezTo>
                    <a:pt x="149" y="48"/>
                    <a:pt x="149" y="48"/>
                    <a:pt x="149" y="48"/>
                  </a:cubicBezTo>
                  <a:cubicBezTo>
                    <a:pt x="236" y="48"/>
                    <a:pt x="236" y="48"/>
                    <a:pt x="236" y="48"/>
                  </a:cubicBezTo>
                  <a:cubicBezTo>
                    <a:pt x="368" y="48"/>
                    <a:pt x="368" y="48"/>
                    <a:pt x="368" y="48"/>
                  </a:cubicBezTo>
                  <a:cubicBezTo>
                    <a:pt x="378" y="48"/>
                    <a:pt x="386" y="40"/>
                    <a:pt x="386" y="31"/>
                  </a:cubicBezTo>
                  <a:cubicBezTo>
                    <a:pt x="386" y="22"/>
                    <a:pt x="386" y="9"/>
                    <a:pt x="386" y="0"/>
                  </a:cubicBezTo>
                  <a:close/>
                  <a:moveTo>
                    <a:pt x="228" y="28"/>
                  </a:moveTo>
                  <a:cubicBezTo>
                    <a:pt x="157" y="28"/>
                    <a:pt x="157" y="28"/>
                    <a:pt x="157" y="28"/>
                  </a:cubicBezTo>
                  <a:cubicBezTo>
                    <a:pt x="157" y="20"/>
                    <a:pt x="157" y="20"/>
                    <a:pt x="157" y="20"/>
                  </a:cubicBezTo>
                  <a:cubicBezTo>
                    <a:pt x="228" y="20"/>
                    <a:pt x="228" y="20"/>
                    <a:pt x="228" y="20"/>
                  </a:cubicBezTo>
                  <a:lnTo>
                    <a:pt x="228" y="28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4" name="Freeform 152"/>
            <p:cNvSpPr>
              <a:spLocks noEditPoints="1"/>
            </p:cNvSpPr>
            <p:nvPr/>
          </p:nvSpPr>
          <p:spPr bwMode="auto">
            <a:xfrm>
              <a:off x="2908300" y="957263"/>
              <a:ext cx="1450975" cy="742950"/>
            </a:xfrm>
            <a:custGeom>
              <a:avLst/>
              <a:gdLst/>
              <a:ahLst/>
              <a:cxnLst>
                <a:cxn ang="0">
                  <a:pos x="386" y="193"/>
                </a:cxn>
                <a:cxn ang="0">
                  <a:pos x="386" y="18"/>
                </a:cxn>
                <a:cxn ang="0">
                  <a:pos x="368" y="0"/>
                </a:cxn>
                <a:cxn ang="0">
                  <a:pos x="17" y="0"/>
                </a:cxn>
                <a:cxn ang="0">
                  <a:pos x="0" y="18"/>
                </a:cxn>
                <a:cxn ang="0">
                  <a:pos x="0" y="193"/>
                </a:cxn>
                <a:cxn ang="0">
                  <a:pos x="0" y="198"/>
                </a:cxn>
                <a:cxn ang="0">
                  <a:pos x="386" y="198"/>
                </a:cxn>
                <a:cxn ang="0">
                  <a:pos x="386" y="193"/>
                </a:cxn>
                <a:cxn ang="0">
                  <a:pos x="377" y="189"/>
                </a:cxn>
                <a:cxn ang="0">
                  <a:pos x="357" y="189"/>
                </a:cxn>
                <a:cxn ang="0">
                  <a:pos x="252" y="189"/>
                </a:cxn>
                <a:cxn ang="0">
                  <a:pos x="243" y="189"/>
                </a:cxn>
                <a:cxn ang="0">
                  <a:pos x="138" y="189"/>
                </a:cxn>
                <a:cxn ang="0">
                  <a:pos x="129" y="189"/>
                </a:cxn>
                <a:cxn ang="0">
                  <a:pos x="24" y="189"/>
                </a:cxn>
                <a:cxn ang="0">
                  <a:pos x="8" y="189"/>
                </a:cxn>
                <a:cxn ang="0">
                  <a:pos x="8" y="18"/>
                </a:cxn>
                <a:cxn ang="0">
                  <a:pos x="17" y="9"/>
                </a:cxn>
                <a:cxn ang="0">
                  <a:pos x="368" y="9"/>
                </a:cxn>
                <a:cxn ang="0">
                  <a:pos x="377" y="18"/>
                </a:cxn>
                <a:cxn ang="0">
                  <a:pos x="377" y="189"/>
                </a:cxn>
              </a:cxnLst>
              <a:rect l="0" t="0" r="r" b="b"/>
              <a:pathLst>
                <a:path w="386" h="198">
                  <a:moveTo>
                    <a:pt x="386" y="193"/>
                  </a:moveTo>
                  <a:cubicBezTo>
                    <a:pt x="386" y="18"/>
                    <a:pt x="386" y="18"/>
                    <a:pt x="386" y="18"/>
                  </a:cubicBezTo>
                  <a:cubicBezTo>
                    <a:pt x="386" y="8"/>
                    <a:pt x="378" y="0"/>
                    <a:pt x="36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95"/>
                    <a:pt x="0" y="196"/>
                    <a:pt x="0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6"/>
                    <a:pt x="386" y="195"/>
                    <a:pt x="386" y="193"/>
                  </a:cubicBezTo>
                  <a:close/>
                  <a:moveTo>
                    <a:pt x="377" y="189"/>
                  </a:moveTo>
                  <a:cubicBezTo>
                    <a:pt x="357" y="189"/>
                    <a:pt x="357" y="189"/>
                    <a:pt x="357" y="189"/>
                  </a:cubicBezTo>
                  <a:cubicBezTo>
                    <a:pt x="252" y="189"/>
                    <a:pt x="252" y="189"/>
                    <a:pt x="25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138" y="189"/>
                    <a:pt x="138" y="189"/>
                    <a:pt x="138" y="189"/>
                  </a:cubicBezTo>
                  <a:cubicBezTo>
                    <a:pt x="129" y="189"/>
                    <a:pt x="129" y="189"/>
                    <a:pt x="129" y="189"/>
                  </a:cubicBezTo>
                  <a:cubicBezTo>
                    <a:pt x="24" y="189"/>
                    <a:pt x="24" y="189"/>
                    <a:pt x="24" y="189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3"/>
                    <a:pt x="12" y="9"/>
                    <a:pt x="17" y="9"/>
                  </a:cubicBezTo>
                  <a:cubicBezTo>
                    <a:pt x="368" y="9"/>
                    <a:pt x="368" y="9"/>
                    <a:pt x="368" y="9"/>
                  </a:cubicBezTo>
                  <a:cubicBezTo>
                    <a:pt x="373" y="9"/>
                    <a:pt x="377" y="13"/>
                    <a:pt x="377" y="18"/>
                  </a:cubicBezTo>
                  <a:lnTo>
                    <a:pt x="377" y="189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165" name="Rectangle 153"/>
            <p:cNvSpPr>
              <a:spLocks noChangeArrowheads="1"/>
            </p:cNvSpPr>
            <p:nvPr/>
          </p:nvSpPr>
          <p:spPr bwMode="auto">
            <a:xfrm>
              <a:off x="3498850" y="1776413"/>
              <a:ext cx="266700" cy="30163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sp>
        <p:nvSpPr>
          <p:cNvPr id="171" name="Freeform 83"/>
          <p:cNvSpPr>
            <a:spLocks noEditPoints="1"/>
          </p:cNvSpPr>
          <p:nvPr/>
        </p:nvSpPr>
        <p:spPr bwMode="auto">
          <a:xfrm>
            <a:off x="8979740" y="3862456"/>
            <a:ext cx="441325" cy="438150"/>
          </a:xfrm>
          <a:custGeom>
            <a:avLst/>
            <a:gdLst/>
            <a:ahLst/>
            <a:cxnLst>
              <a:cxn ang="0">
                <a:pos x="0" y="74"/>
              </a:cxn>
              <a:cxn ang="0">
                <a:pos x="6" y="103"/>
              </a:cxn>
              <a:cxn ang="0">
                <a:pos x="22" y="127"/>
              </a:cxn>
              <a:cxn ang="0">
                <a:pos x="46" y="143"/>
              </a:cxn>
              <a:cxn ang="0">
                <a:pos x="75" y="149"/>
              </a:cxn>
              <a:cxn ang="0">
                <a:pos x="98" y="145"/>
              </a:cxn>
              <a:cxn ang="0">
                <a:pos x="118" y="135"/>
              </a:cxn>
              <a:cxn ang="0">
                <a:pos x="182" y="199"/>
              </a:cxn>
              <a:cxn ang="0">
                <a:pos x="193" y="193"/>
              </a:cxn>
              <a:cxn ang="0">
                <a:pos x="200" y="181"/>
              </a:cxn>
              <a:cxn ang="0">
                <a:pos x="136" y="117"/>
              </a:cxn>
              <a:cxn ang="0">
                <a:pos x="146" y="97"/>
              </a:cxn>
              <a:cxn ang="0">
                <a:pos x="149" y="74"/>
              </a:cxn>
              <a:cxn ang="0">
                <a:pos x="143" y="45"/>
              </a:cxn>
              <a:cxn ang="0">
                <a:pos x="127" y="21"/>
              </a:cxn>
              <a:cxn ang="0">
                <a:pos x="104" y="5"/>
              </a:cxn>
              <a:cxn ang="0">
                <a:pos x="75" y="0"/>
              </a:cxn>
              <a:cxn ang="0">
                <a:pos x="46" y="5"/>
              </a:cxn>
              <a:cxn ang="0">
                <a:pos x="22" y="21"/>
              </a:cxn>
              <a:cxn ang="0">
                <a:pos x="6" y="45"/>
              </a:cxn>
              <a:cxn ang="0">
                <a:pos x="0" y="74"/>
              </a:cxn>
              <a:cxn ang="0">
                <a:pos x="22" y="74"/>
              </a:cxn>
              <a:cxn ang="0">
                <a:pos x="26" y="54"/>
              </a:cxn>
              <a:cxn ang="0">
                <a:pos x="38" y="37"/>
              </a:cxn>
              <a:cxn ang="0">
                <a:pos x="54" y="26"/>
              </a:cxn>
              <a:cxn ang="0">
                <a:pos x="75" y="21"/>
              </a:cxn>
              <a:cxn ang="0">
                <a:pos x="95" y="26"/>
              </a:cxn>
              <a:cxn ang="0">
                <a:pos x="112" y="37"/>
              </a:cxn>
              <a:cxn ang="0">
                <a:pos x="123" y="54"/>
              </a:cxn>
              <a:cxn ang="0">
                <a:pos x="127" y="74"/>
              </a:cxn>
              <a:cxn ang="0">
                <a:pos x="123" y="95"/>
              </a:cxn>
              <a:cxn ang="0">
                <a:pos x="112" y="111"/>
              </a:cxn>
              <a:cxn ang="0">
                <a:pos x="95" y="123"/>
              </a:cxn>
              <a:cxn ang="0">
                <a:pos x="75" y="127"/>
              </a:cxn>
              <a:cxn ang="0">
                <a:pos x="54" y="123"/>
              </a:cxn>
              <a:cxn ang="0">
                <a:pos x="38" y="111"/>
              </a:cxn>
              <a:cxn ang="0">
                <a:pos x="26" y="95"/>
              </a:cxn>
              <a:cxn ang="0">
                <a:pos x="22" y="74"/>
              </a:cxn>
            </a:cxnLst>
            <a:rect l="0" t="0" r="r" b="b"/>
            <a:pathLst>
              <a:path w="200" h="199">
                <a:moveTo>
                  <a:pt x="0" y="74"/>
                </a:moveTo>
                <a:cubicBezTo>
                  <a:pt x="0" y="84"/>
                  <a:pt x="2" y="94"/>
                  <a:pt x="6" y="103"/>
                </a:cubicBezTo>
                <a:cubicBezTo>
                  <a:pt x="10" y="112"/>
                  <a:pt x="16" y="120"/>
                  <a:pt x="22" y="127"/>
                </a:cubicBezTo>
                <a:cubicBezTo>
                  <a:pt x="29" y="133"/>
                  <a:pt x="37" y="139"/>
                  <a:pt x="46" y="143"/>
                </a:cubicBezTo>
                <a:cubicBezTo>
                  <a:pt x="55" y="147"/>
                  <a:pt x="65" y="149"/>
                  <a:pt x="75" y="149"/>
                </a:cubicBezTo>
                <a:cubicBezTo>
                  <a:pt x="83" y="149"/>
                  <a:pt x="90" y="147"/>
                  <a:pt x="98" y="145"/>
                </a:cubicBezTo>
                <a:cubicBezTo>
                  <a:pt x="105" y="143"/>
                  <a:pt x="111" y="139"/>
                  <a:pt x="118" y="135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6" y="199"/>
                  <a:pt x="189" y="196"/>
                  <a:pt x="193" y="193"/>
                </a:cubicBezTo>
                <a:cubicBezTo>
                  <a:pt x="197" y="190"/>
                  <a:pt x="199" y="186"/>
                  <a:pt x="200" y="181"/>
                </a:cubicBezTo>
                <a:cubicBezTo>
                  <a:pt x="136" y="117"/>
                  <a:pt x="136" y="117"/>
                  <a:pt x="136" y="117"/>
                </a:cubicBezTo>
                <a:cubicBezTo>
                  <a:pt x="140" y="111"/>
                  <a:pt x="143" y="104"/>
                  <a:pt x="146" y="97"/>
                </a:cubicBezTo>
                <a:cubicBezTo>
                  <a:pt x="148" y="90"/>
                  <a:pt x="149" y="82"/>
                  <a:pt x="149" y="74"/>
                </a:cubicBezTo>
                <a:cubicBezTo>
                  <a:pt x="149" y="64"/>
                  <a:pt x="147" y="54"/>
                  <a:pt x="143" y="45"/>
                </a:cubicBezTo>
                <a:cubicBezTo>
                  <a:pt x="140" y="36"/>
                  <a:pt x="134" y="28"/>
                  <a:pt x="127" y="21"/>
                </a:cubicBezTo>
                <a:cubicBezTo>
                  <a:pt x="121" y="15"/>
                  <a:pt x="113" y="9"/>
                  <a:pt x="104" y="5"/>
                </a:cubicBezTo>
                <a:cubicBezTo>
                  <a:pt x="95" y="1"/>
                  <a:pt x="85" y="0"/>
                  <a:pt x="75" y="0"/>
                </a:cubicBezTo>
                <a:cubicBezTo>
                  <a:pt x="65" y="0"/>
                  <a:pt x="55" y="1"/>
                  <a:pt x="46" y="5"/>
                </a:cubicBezTo>
                <a:cubicBezTo>
                  <a:pt x="37" y="9"/>
                  <a:pt x="29" y="15"/>
                  <a:pt x="22" y="21"/>
                </a:cubicBezTo>
                <a:cubicBezTo>
                  <a:pt x="16" y="28"/>
                  <a:pt x="10" y="36"/>
                  <a:pt x="6" y="45"/>
                </a:cubicBezTo>
                <a:cubicBezTo>
                  <a:pt x="2" y="54"/>
                  <a:pt x="0" y="64"/>
                  <a:pt x="0" y="74"/>
                </a:cubicBezTo>
                <a:close/>
                <a:moveTo>
                  <a:pt x="22" y="74"/>
                </a:moveTo>
                <a:cubicBezTo>
                  <a:pt x="22" y="67"/>
                  <a:pt x="24" y="60"/>
                  <a:pt x="26" y="54"/>
                </a:cubicBezTo>
                <a:cubicBezTo>
                  <a:pt x="29" y="47"/>
                  <a:pt x="33" y="42"/>
                  <a:pt x="38" y="37"/>
                </a:cubicBezTo>
                <a:cubicBezTo>
                  <a:pt x="43" y="32"/>
                  <a:pt x="48" y="28"/>
                  <a:pt x="54" y="26"/>
                </a:cubicBezTo>
                <a:cubicBezTo>
                  <a:pt x="61" y="23"/>
                  <a:pt x="68" y="21"/>
                  <a:pt x="75" y="21"/>
                </a:cubicBezTo>
                <a:cubicBezTo>
                  <a:pt x="82" y="21"/>
                  <a:pt x="89" y="23"/>
                  <a:pt x="95" y="26"/>
                </a:cubicBezTo>
                <a:cubicBezTo>
                  <a:pt x="102" y="28"/>
                  <a:pt x="107" y="32"/>
                  <a:pt x="112" y="37"/>
                </a:cubicBezTo>
                <a:cubicBezTo>
                  <a:pt x="117" y="42"/>
                  <a:pt x="121" y="47"/>
                  <a:pt x="123" y="54"/>
                </a:cubicBezTo>
                <a:cubicBezTo>
                  <a:pt x="126" y="60"/>
                  <a:pt x="127" y="67"/>
                  <a:pt x="127" y="74"/>
                </a:cubicBezTo>
                <a:cubicBezTo>
                  <a:pt x="127" y="81"/>
                  <a:pt x="126" y="88"/>
                  <a:pt x="123" y="95"/>
                </a:cubicBezTo>
                <a:cubicBezTo>
                  <a:pt x="121" y="101"/>
                  <a:pt x="117" y="107"/>
                  <a:pt x="112" y="111"/>
                </a:cubicBezTo>
                <a:cubicBezTo>
                  <a:pt x="107" y="116"/>
                  <a:pt x="102" y="120"/>
                  <a:pt x="95" y="123"/>
                </a:cubicBezTo>
                <a:cubicBezTo>
                  <a:pt x="89" y="125"/>
                  <a:pt x="82" y="127"/>
                  <a:pt x="75" y="127"/>
                </a:cubicBezTo>
                <a:cubicBezTo>
                  <a:pt x="68" y="127"/>
                  <a:pt x="61" y="125"/>
                  <a:pt x="54" y="123"/>
                </a:cubicBezTo>
                <a:cubicBezTo>
                  <a:pt x="48" y="120"/>
                  <a:pt x="43" y="116"/>
                  <a:pt x="38" y="111"/>
                </a:cubicBezTo>
                <a:cubicBezTo>
                  <a:pt x="33" y="107"/>
                  <a:pt x="29" y="101"/>
                  <a:pt x="26" y="95"/>
                </a:cubicBezTo>
                <a:cubicBezTo>
                  <a:pt x="24" y="88"/>
                  <a:pt x="22" y="81"/>
                  <a:pt x="22" y="74"/>
                </a:cubicBezTo>
                <a:close/>
              </a:path>
            </a:pathLst>
          </a:custGeom>
          <a:solidFill>
            <a:srgbClr val="FCFCFC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06" name="Content Placeholder 2"/>
          <p:cNvSpPr txBox="1"/>
          <p:nvPr/>
        </p:nvSpPr>
        <p:spPr>
          <a:xfrm>
            <a:off x="4033112" y="1056815"/>
            <a:ext cx="3944516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111" name="六边形 110"/>
          <p:cNvSpPr/>
          <p:nvPr/>
        </p:nvSpPr>
        <p:spPr>
          <a:xfrm>
            <a:off x="9209284" y="1650630"/>
            <a:ext cx="2172820" cy="1096200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2" name="Content Placeholder 2"/>
          <p:cNvSpPr txBox="1"/>
          <p:nvPr/>
        </p:nvSpPr>
        <p:spPr>
          <a:xfrm>
            <a:off x="9305390" y="1949269"/>
            <a:ext cx="2076714" cy="6249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err="1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urabitur</a:t>
            </a:r>
            <a:r>
              <a:rPr lang="en-US" dirty="0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dirty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ementum posuere pretium. </a:t>
            </a:r>
          </a:p>
        </p:txBody>
      </p:sp>
      <p:grpSp>
        <p:nvGrpSpPr>
          <p:cNvPr id="69" name="组合 68"/>
          <p:cNvGrpSpPr/>
          <p:nvPr/>
        </p:nvGrpSpPr>
        <p:grpSpPr>
          <a:xfrm>
            <a:off x="5424470" y="2419850"/>
            <a:ext cx="1295400" cy="382835"/>
            <a:chOff x="623392" y="1479399"/>
            <a:chExt cx="1295400" cy="382835"/>
          </a:xfrm>
        </p:grpSpPr>
        <p:sp>
          <p:nvSpPr>
            <p:cNvPr id="70" name="六边形 69"/>
            <p:cNvSpPr/>
            <p:nvPr/>
          </p:nvSpPr>
          <p:spPr>
            <a:xfrm>
              <a:off x="807958" y="1479399"/>
              <a:ext cx="940786" cy="382835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71" name="Title 13"/>
            <p:cNvSpPr txBox="1"/>
            <p:nvPr/>
          </p:nvSpPr>
          <p:spPr>
            <a:xfrm>
              <a:off x="623392" y="1493411"/>
              <a:ext cx="1295400" cy="36830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zh-CN" altLang="en-US" sz="1400" dirty="0" smtClean="0">
                  <a:solidFill>
                    <a:schemeClr val="bg1"/>
                  </a:solidFill>
                  <a:latin typeface="幼圆" panose="02010509060101010101" pitchFamily="49" charset="-122"/>
                  <a:ea typeface="幼圆" panose="02010509060101010101" pitchFamily="49" charset="-122"/>
                  <a:sym typeface="Arial" panose="020B0604020202020204"/>
                </a:rPr>
                <a:t>实验器材</a:t>
              </a:r>
              <a:endParaRPr lang="en-US" sz="1400" dirty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  <a:sym typeface="Arial" panose="020B0604020202020204"/>
              </a:endParaRPr>
            </a:p>
          </p:txBody>
        </p:sp>
      </p:grpSp>
      <p:sp>
        <p:nvSpPr>
          <p:cNvPr id="72" name="Freeform 4"/>
          <p:cNvSpPr/>
          <p:nvPr/>
        </p:nvSpPr>
        <p:spPr bwMode="auto">
          <a:xfrm rot="10800000" flipH="1" flipV="1">
            <a:off x="10419296" y="5661718"/>
            <a:ext cx="2037565" cy="181911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73" name="Freeform 4"/>
          <p:cNvSpPr/>
          <p:nvPr/>
        </p:nvSpPr>
        <p:spPr bwMode="auto">
          <a:xfrm rot="10800000" flipH="1" flipV="1">
            <a:off x="-897101" y="2846121"/>
            <a:ext cx="2468835" cy="2254175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74" name="Freeform 4"/>
          <p:cNvSpPr/>
          <p:nvPr/>
        </p:nvSpPr>
        <p:spPr bwMode="auto">
          <a:xfrm rot="10800000" flipH="1" flipV="1">
            <a:off x="5060646" y="-1026821"/>
            <a:ext cx="2037565" cy="181911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"/>
          <p:cNvSpPr/>
          <p:nvPr/>
        </p:nvSpPr>
        <p:spPr bwMode="auto">
          <a:xfrm rot="10800000" flipH="1" flipV="1">
            <a:off x="0" y="1386835"/>
            <a:ext cx="12192000" cy="3941429"/>
          </a:xfrm>
          <a:prstGeom prst="rect">
            <a:avLst/>
          </a:prstGeom>
          <a:solidFill>
            <a:schemeClr val="accent1">
              <a:alpha val="20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Title 13"/>
          <p:cNvSpPr txBox="1"/>
          <p:nvPr/>
        </p:nvSpPr>
        <p:spPr>
          <a:xfrm>
            <a:off x="1461184" y="2636912"/>
            <a:ext cx="1440144" cy="1384754"/>
          </a:xfrm>
          <a:prstGeom prst="rect">
            <a:avLst/>
          </a:prstGeom>
          <a:solidFill>
            <a:schemeClr val="accent1">
              <a:alpha val="82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8800" b="1" dirty="0" smtClean="0">
                <a:solidFill>
                  <a:schemeClr val="bg2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Arial" panose="020B0604020202020204"/>
              </a:rPr>
              <a:t>3</a:t>
            </a:r>
            <a:endParaRPr lang="en-US" sz="8800" b="1" dirty="0">
              <a:solidFill>
                <a:schemeClr val="bg2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19" name="Content Placeholder 2"/>
          <p:cNvSpPr txBox="1"/>
          <p:nvPr/>
        </p:nvSpPr>
        <p:spPr>
          <a:xfrm>
            <a:off x="9350831" y="1701816"/>
            <a:ext cx="2160240" cy="7671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b="1" dirty="0">
                <a:solidFill>
                  <a:schemeClr val="bg2">
                    <a:alpha val="6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haroni" panose="02010803020104030203" pitchFamily="2" charset="-79"/>
                <a:sym typeface="Arial" panose="020B0604020202020204"/>
              </a:rPr>
              <a:t>实验</a:t>
            </a:r>
            <a:endParaRPr lang="en-US" sz="2000" b="1" dirty="0">
              <a:solidFill>
                <a:schemeClr val="bg2">
                  <a:alpha val="6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Aharoni" panose="02010803020104030203" pitchFamily="2" charset="-79"/>
              <a:sym typeface="Arial" panose="020B0604020202020204"/>
            </a:endParaRPr>
          </a:p>
        </p:txBody>
      </p:sp>
      <p:sp>
        <p:nvSpPr>
          <p:cNvPr id="20" name="Title 13"/>
          <p:cNvSpPr txBox="1"/>
          <p:nvPr/>
        </p:nvSpPr>
        <p:spPr>
          <a:xfrm>
            <a:off x="4131389" y="1865136"/>
            <a:ext cx="5602212" cy="317851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r" fontAlgn="base"/>
            <a:r>
              <a:rPr lang="zh-CN" altLang="en-US" sz="15000" b="1" dirty="0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数据</a:t>
            </a:r>
            <a:endParaRPr lang="en-US" sz="15000" b="1" dirty="0">
              <a:solidFill>
                <a:schemeClr val="bg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3" name="Freeform 4"/>
          <p:cNvSpPr/>
          <p:nvPr/>
        </p:nvSpPr>
        <p:spPr bwMode="auto">
          <a:xfrm rot="5400000" flipH="1" flipV="1">
            <a:off x="6518160" y="1092507"/>
            <a:ext cx="2255705" cy="4830019"/>
          </a:xfrm>
          <a:prstGeom prst="rect">
            <a:avLst/>
          </a:prstGeom>
          <a:noFill/>
          <a:ln w="28575">
            <a:solidFill>
              <a:schemeClr val="bg2">
                <a:alpha val="94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Freeform 4"/>
          <p:cNvSpPr/>
          <p:nvPr/>
        </p:nvSpPr>
        <p:spPr bwMode="auto">
          <a:xfrm rot="4880796" flipH="1" flipV="1">
            <a:off x="1505750" y="2768894"/>
            <a:ext cx="1445141" cy="1371004"/>
          </a:xfrm>
          <a:prstGeom prst="rect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4" name="Freeform 4"/>
          <p:cNvSpPr/>
          <p:nvPr/>
        </p:nvSpPr>
        <p:spPr bwMode="auto">
          <a:xfrm rot="4880796" flipH="1" flipV="1">
            <a:off x="1230376" y="1131009"/>
            <a:ext cx="580174" cy="550411"/>
          </a:xfrm>
          <a:prstGeom prst="rect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0" name="Freeform 207"/>
          <p:cNvSpPr/>
          <p:nvPr/>
        </p:nvSpPr>
        <p:spPr bwMode="auto">
          <a:xfrm rot="5400000">
            <a:off x="9770999" y="5634116"/>
            <a:ext cx="287064" cy="292982"/>
          </a:xfrm>
          <a:custGeom>
            <a:avLst/>
            <a:gdLst>
              <a:gd name="T0" fmla="*/ 0 w 41"/>
              <a:gd name="T1" fmla="*/ 41 h 42"/>
              <a:gd name="T2" fmla="*/ 0 w 41"/>
              <a:gd name="T3" fmla="*/ 2 h 42"/>
              <a:gd name="T4" fmla="*/ 1 w 41"/>
              <a:gd name="T5" fmla="*/ 1 h 42"/>
              <a:gd name="T6" fmla="*/ 20 w 41"/>
              <a:gd name="T7" fmla="*/ 20 h 42"/>
              <a:gd name="T8" fmla="*/ 21 w 41"/>
              <a:gd name="T9" fmla="*/ 21 h 42"/>
              <a:gd name="T10" fmla="*/ 21 w 41"/>
              <a:gd name="T11" fmla="*/ 2 h 42"/>
              <a:gd name="T12" fmla="*/ 22 w 41"/>
              <a:gd name="T13" fmla="*/ 1 h 42"/>
              <a:gd name="T14" fmla="*/ 41 w 41"/>
              <a:gd name="T15" fmla="*/ 20 h 42"/>
              <a:gd name="T16" fmla="*/ 41 w 41"/>
              <a:gd name="T17" fmla="*/ 22 h 42"/>
              <a:gd name="T18" fmla="*/ 22 w 41"/>
              <a:gd name="T19" fmla="*/ 41 h 42"/>
              <a:gd name="T20" fmla="*/ 21 w 41"/>
              <a:gd name="T21" fmla="*/ 41 h 42"/>
              <a:gd name="T22" fmla="*/ 21 w 41"/>
              <a:gd name="T23" fmla="*/ 22 h 42"/>
              <a:gd name="T24" fmla="*/ 20 w 41"/>
              <a:gd name="T25" fmla="*/ 22 h 42"/>
              <a:gd name="T26" fmla="*/ 1 w 41"/>
              <a:gd name="T27" fmla="*/ 41 h 42"/>
              <a:gd name="T28" fmla="*/ 0 w 41"/>
              <a:gd name="T29" fmla="*/ 4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1" h="42">
                <a:moveTo>
                  <a:pt x="0" y="41"/>
                </a:move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1" y="21"/>
                </a:cubicBezTo>
                <a:cubicBezTo>
                  <a:pt x="21" y="2"/>
                  <a:pt x="21" y="2"/>
                  <a:pt x="21" y="2"/>
                </a:cubicBezTo>
                <a:cubicBezTo>
                  <a:pt x="21" y="1"/>
                  <a:pt x="21" y="0"/>
                  <a:pt x="22" y="1"/>
                </a:cubicBezTo>
                <a:cubicBezTo>
                  <a:pt x="41" y="20"/>
                  <a:pt x="41" y="20"/>
                  <a:pt x="41" y="20"/>
                </a:cubicBezTo>
                <a:cubicBezTo>
                  <a:pt x="41" y="21"/>
                  <a:pt x="41" y="22"/>
                  <a:pt x="41" y="22"/>
                </a:cubicBezTo>
                <a:cubicBezTo>
                  <a:pt x="22" y="41"/>
                  <a:pt x="22" y="41"/>
                  <a:pt x="22" y="41"/>
                </a:cubicBezTo>
                <a:cubicBezTo>
                  <a:pt x="21" y="42"/>
                  <a:pt x="21" y="42"/>
                  <a:pt x="21" y="41"/>
                </a:cubicBezTo>
                <a:cubicBezTo>
                  <a:pt x="21" y="22"/>
                  <a:pt x="21" y="22"/>
                  <a:pt x="21" y="22"/>
                </a:cubicBezTo>
                <a:cubicBezTo>
                  <a:pt x="20" y="22"/>
                  <a:pt x="20" y="22"/>
                  <a:pt x="20" y="22"/>
                </a:cubicBezTo>
                <a:cubicBezTo>
                  <a:pt x="1" y="41"/>
                  <a:pt x="1" y="41"/>
                  <a:pt x="1" y="41"/>
                </a:cubicBezTo>
                <a:cubicBezTo>
                  <a:pt x="1" y="42"/>
                  <a:pt x="0" y="42"/>
                  <a:pt x="0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4"/>
          <p:cNvSpPr/>
          <p:nvPr/>
        </p:nvSpPr>
        <p:spPr bwMode="auto">
          <a:xfrm rot="10800000" flipH="1" flipV="1">
            <a:off x="10869004" y="1695427"/>
            <a:ext cx="1440160" cy="917894"/>
          </a:xfrm>
          <a:prstGeom prst="hexagon">
            <a:avLst>
              <a:gd name="adj" fmla="val 0"/>
              <a:gd name="vf" fmla="val 115470"/>
            </a:avLst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Rectangle 6"/>
          <p:cNvSpPr/>
          <p:nvPr/>
        </p:nvSpPr>
        <p:spPr>
          <a:xfrm>
            <a:off x="3085264" y="1915351"/>
            <a:ext cx="8411336" cy="33020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12" name="Content Placeholder 2"/>
          <p:cNvSpPr txBox="1"/>
          <p:nvPr/>
        </p:nvSpPr>
        <p:spPr>
          <a:xfrm>
            <a:off x="8148506" y="555727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1" name="Content Placeholder 2"/>
          <p:cNvSpPr txBox="1"/>
          <p:nvPr/>
        </p:nvSpPr>
        <p:spPr>
          <a:xfrm>
            <a:off x="8891399" y="5437284"/>
            <a:ext cx="2592288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dirty="0" err="1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urabitur</a:t>
            </a:r>
            <a:r>
              <a:rPr lang="en-US" sz="1200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ementum posuere pretium. Quisque nibh dolor, dignissim ac dignissim ut, luctus ac urna. </a:t>
            </a:r>
            <a:r>
              <a:rPr lang="en-US" sz="1200" dirty="0" err="1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tincidunt</a:t>
            </a:r>
            <a:r>
              <a:rPr lang="en-US" sz="1200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.</a:t>
            </a:r>
          </a:p>
        </p:txBody>
      </p:sp>
      <p:sp>
        <p:nvSpPr>
          <p:cNvPr id="24" name="Content Placeholder 2"/>
          <p:cNvSpPr txBox="1"/>
          <p:nvPr/>
        </p:nvSpPr>
        <p:spPr>
          <a:xfrm>
            <a:off x="3116501" y="4149080"/>
            <a:ext cx="4790883" cy="57284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  <a:cs typeface="+mn-ea"/>
                <a:sym typeface="+mn-lt"/>
              </a:rPr>
              <a:t>Lorem ipsum dolor sit amet, consectetur adipiscing elit. Curabitur elementum </a:t>
            </a:r>
            <a:r>
              <a:rPr lang="en-US" dirty="0" err="1">
                <a:solidFill>
                  <a:schemeClr val="bg1"/>
                </a:solidFill>
                <a:cs typeface="+mn-ea"/>
                <a:sym typeface="+mn-lt"/>
              </a:rPr>
              <a:t>posuere</a:t>
            </a:r>
            <a:r>
              <a:rPr lang="en-US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+mn-ea"/>
                <a:sym typeface="+mn-lt"/>
              </a:rPr>
              <a:t>pretium</a:t>
            </a:r>
            <a:r>
              <a:rPr lang="en-US" dirty="0">
                <a:solidFill>
                  <a:schemeClr val="bg1"/>
                </a:solidFill>
                <a:cs typeface="+mn-ea"/>
                <a:sym typeface="+mn-lt"/>
              </a:rPr>
              <a:t>. </a:t>
            </a:r>
          </a:p>
        </p:txBody>
      </p:sp>
      <p:sp>
        <p:nvSpPr>
          <p:cNvPr id="18" name="Freeform 2338"/>
          <p:cNvSpPr>
            <a:spLocks noEditPoints="1"/>
          </p:cNvSpPr>
          <p:nvPr/>
        </p:nvSpPr>
        <p:spPr bwMode="auto">
          <a:xfrm>
            <a:off x="9458896" y="2525797"/>
            <a:ext cx="1038409" cy="2031417"/>
          </a:xfrm>
          <a:custGeom>
            <a:avLst/>
            <a:gdLst>
              <a:gd name="T0" fmla="*/ 340 w 340"/>
              <a:gd name="T1" fmla="*/ 49 h 664"/>
              <a:gd name="T2" fmla="*/ 291 w 340"/>
              <a:gd name="T3" fmla="*/ 0 h 664"/>
              <a:gd name="T4" fmla="*/ 49 w 340"/>
              <a:gd name="T5" fmla="*/ 0 h 664"/>
              <a:gd name="T6" fmla="*/ 0 w 340"/>
              <a:gd name="T7" fmla="*/ 49 h 664"/>
              <a:gd name="T8" fmla="*/ 0 w 340"/>
              <a:gd name="T9" fmla="*/ 615 h 664"/>
              <a:gd name="T10" fmla="*/ 49 w 340"/>
              <a:gd name="T11" fmla="*/ 664 h 664"/>
              <a:gd name="T12" fmla="*/ 291 w 340"/>
              <a:gd name="T13" fmla="*/ 664 h 664"/>
              <a:gd name="T14" fmla="*/ 340 w 340"/>
              <a:gd name="T15" fmla="*/ 615 h 664"/>
              <a:gd name="T16" fmla="*/ 340 w 340"/>
              <a:gd name="T17" fmla="*/ 49 h 664"/>
              <a:gd name="T18" fmla="*/ 172 w 340"/>
              <a:gd name="T19" fmla="*/ 637 h 664"/>
              <a:gd name="T20" fmla="*/ 140 w 340"/>
              <a:gd name="T21" fmla="*/ 605 h 664"/>
              <a:gd name="T22" fmla="*/ 172 w 340"/>
              <a:gd name="T23" fmla="*/ 573 h 664"/>
              <a:gd name="T24" fmla="*/ 204 w 340"/>
              <a:gd name="T25" fmla="*/ 605 h 664"/>
              <a:gd name="T26" fmla="*/ 172 w 340"/>
              <a:gd name="T27" fmla="*/ 637 h 664"/>
              <a:gd name="T28" fmla="*/ 316 w 340"/>
              <a:gd name="T29" fmla="*/ 548 h 664"/>
              <a:gd name="T30" fmla="*/ 24 w 340"/>
              <a:gd name="T31" fmla="*/ 548 h 664"/>
              <a:gd name="T32" fmla="*/ 24 w 340"/>
              <a:gd name="T33" fmla="*/ 112 h 664"/>
              <a:gd name="T34" fmla="*/ 316 w 340"/>
              <a:gd name="T35" fmla="*/ 112 h 664"/>
              <a:gd name="T36" fmla="*/ 316 w 340"/>
              <a:gd name="T37" fmla="*/ 548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0" h="664">
                <a:moveTo>
                  <a:pt x="340" y="49"/>
                </a:moveTo>
                <a:cubicBezTo>
                  <a:pt x="340" y="22"/>
                  <a:pt x="318" y="0"/>
                  <a:pt x="291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22" y="0"/>
                  <a:pt x="0" y="22"/>
                  <a:pt x="0" y="49"/>
                </a:cubicBezTo>
                <a:cubicBezTo>
                  <a:pt x="0" y="615"/>
                  <a:pt x="0" y="615"/>
                  <a:pt x="0" y="615"/>
                </a:cubicBezTo>
                <a:cubicBezTo>
                  <a:pt x="0" y="642"/>
                  <a:pt x="22" y="664"/>
                  <a:pt x="49" y="664"/>
                </a:cubicBezTo>
                <a:cubicBezTo>
                  <a:pt x="291" y="664"/>
                  <a:pt x="291" y="664"/>
                  <a:pt x="291" y="664"/>
                </a:cubicBezTo>
                <a:cubicBezTo>
                  <a:pt x="318" y="664"/>
                  <a:pt x="340" y="642"/>
                  <a:pt x="340" y="615"/>
                </a:cubicBezTo>
                <a:lnTo>
                  <a:pt x="340" y="49"/>
                </a:lnTo>
                <a:close/>
                <a:moveTo>
                  <a:pt x="172" y="637"/>
                </a:moveTo>
                <a:cubicBezTo>
                  <a:pt x="154" y="637"/>
                  <a:pt x="140" y="622"/>
                  <a:pt x="140" y="605"/>
                </a:cubicBezTo>
                <a:cubicBezTo>
                  <a:pt x="140" y="587"/>
                  <a:pt x="154" y="573"/>
                  <a:pt x="172" y="573"/>
                </a:cubicBezTo>
                <a:cubicBezTo>
                  <a:pt x="190" y="573"/>
                  <a:pt x="204" y="587"/>
                  <a:pt x="204" y="605"/>
                </a:cubicBezTo>
                <a:cubicBezTo>
                  <a:pt x="204" y="622"/>
                  <a:pt x="190" y="637"/>
                  <a:pt x="172" y="637"/>
                </a:cubicBezTo>
                <a:moveTo>
                  <a:pt x="316" y="548"/>
                </a:moveTo>
                <a:cubicBezTo>
                  <a:pt x="24" y="548"/>
                  <a:pt x="24" y="548"/>
                  <a:pt x="24" y="548"/>
                </a:cubicBezTo>
                <a:cubicBezTo>
                  <a:pt x="24" y="112"/>
                  <a:pt x="24" y="112"/>
                  <a:pt x="24" y="112"/>
                </a:cubicBezTo>
                <a:cubicBezTo>
                  <a:pt x="316" y="112"/>
                  <a:pt x="316" y="112"/>
                  <a:pt x="316" y="112"/>
                </a:cubicBezTo>
                <a:lnTo>
                  <a:pt x="316" y="54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29" name="Title 13"/>
          <p:cNvSpPr txBox="1"/>
          <p:nvPr/>
        </p:nvSpPr>
        <p:spPr>
          <a:xfrm>
            <a:off x="8086274" y="2611966"/>
            <a:ext cx="3595294" cy="1739371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9600" dirty="0">
                <a:solidFill>
                  <a:schemeClr val="bg1"/>
                </a:solidFill>
                <a:latin typeface="+mn-ea"/>
                <a:ea typeface="+mn-ea"/>
                <a:cs typeface="+mn-ea"/>
                <a:sym typeface="+mn-lt"/>
              </a:rPr>
              <a:t>123</a:t>
            </a:r>
          </a:p>
        </p:txBody>
      </p:sp>
      <p:graphicFrame>
        <p:nvGraphicFramePr>
          <p:cNvPr id="19" name="图表 18"/>
          <p:cNvGraphicFramePr/>
          <p:nvPr/>
        </p:nvGraphicFramePr>
        <p:xfrm>
          <a:off x="615061" y="2435492"/>
          <a:ext cx="6932659" cy="1728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6" name="组合 15"/>
          <p:cNvGrpSpPr/>
          <p:nvPr/>
        </p:nvGrpSpPr>
        <p:grpSpPr>
          <a:xfrm flipV="1">
            <a:off x="2905193" y="2611966"/>
            <a:ext cx="371815" cy="430828"/>
            <a:chOff x="755576" y="1689680"/>
            <a:chExt cx="453678" cy="1530142"/>
          </a:xfrm>
        </p:grpSpPr>
        <p:sp>
          <p:nvSpPr>
            <p:cNvPr id="23" name="直角三角形 22"/>
            <p:cNvSpPr/>
            <p:nvPr/>
          </p:nvSpPr>
          <p:spPr>
            <a:xfrm flipH="1">
              <a:off x="755576" y="1689680"/>
              <a:ext cx="226839" cy="1530142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cs typeface="+mn-ea"/>
                <a:sym typeface="+mn-lt"/>
              </a:endParaRPr>
            </a:p>
          </p:txBody>
        </p:sp>
        <p:sp>
          <p:nvSpPr>
            <p:cNvPr id="25" name="直角三角形 24"/>
            <p:cNvSpPr/>
            <p:nvPr/>
          </p:nvSpPr>
          <p:spPr>
            <a:xfrm>
              <a:off x="982415" y="1689680"/>
              <a:ext cx="226839" cy="1530142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cs typeface="+mn-ea"/>
                <a:sym typeface="+mn-lt"/>
              </a:endParaRPr>
            </a:p>
          </p:txBody>
        </p:sp>
      </p:grpSp>
      <p:sp>
        <p:nvSpPr>
          <p:cNvPr id="22" name="Title 13"/>
          <p:cNvSpPr txBox="1"/>
          <p:nvPr/>
        </p:nvSpPr>
        <p:spPr>
          <a:xfrm>
            <a:off x="695400" y="570635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实验结果</a:t>
            </a:r>
            <a:endParaRPr lang="en-US" sz="1400" b="1" dirty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6" name="Freeform 4"/>
          <p:cNvSpPr/>
          <p:nvPr/>
        </p:nvSpPr>
        <p:spPr bwMode="auto">
          <a:xfrm rot="10800000" flipH="1" flipV="1">
            <a:off x="508596" y="524282"/>
            <a:ext cx="360065" cy="360000"/>
          </a:xfrm>
          <a:prstGeom prst="rect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6"/>
          <p:cNvSpPr/>
          <p:nvPr/>
        </p:nvSpPr>
        <p:spPr>
          <a:xfrm flipH="1">
            <a:off x="3080896" y="-6470"/>
            <a:ext cx="9111101" cy="3598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/>
          </a:p>
        </p:txBody>
      </p:sp>
      <p:sp>
        <p:nvSpPr>
          <p:cNvPr id="44" name="Content Placeholder 2"/>
          <p:cNvSpPr txBox="1"/>
          <p:nvPr/>
        </p:nvSpPr>
        <p:spPr>
          <a:xfrm>
            <a:off x="966212" y="5291352"/>
            <a:ext cx="1584176" cy="843680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tx2"/>
                </a:solidFill>
                <a:cs typeface="+mn-ea"/>
                <a:sym typeface="+mn-lt"/>
              </a:rPr>
              <a:t>Lorem ipsum dolor sit amet, </a:t>
            </a:r>
            <a:r>
              <a:rPr lang="en-US" dirty="0" err="1" smtClean="0">
                <a:solidFill>
                  <a:schemeClr val="tx2"/>
                </a:solidFill>
                <a:cs typeface="+mn-ea"/>
                <a:sym typeface="+mn-lt"/>
              </a:rPr>
              <a:t>consectetur</a:t>
            </a:r>
            <a:endParaRPr lang="en-US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aphicFrame>
        <p:nvGraphicFramePr>
          <p:cNvPr id="18" name="图表 17"/>
          <p:cNvGraphicFramePr/>
          <p:nvPr/>
        </p:nvGraphicFramePr>
        <p:xfrm>
          <a:off x="2927648" y="631478"/>
          <a:ext cx="9409045" cy="3101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Content Placeholder 2"/>
          <p:cNvSpPr txBox="1"/>
          <p:nvPr/>
        </p:nvSpPr>
        <p:spPr>
          <a:xfrm>
            <a:off x="979643" y="1426305"/>
            <a:ext cx="2141045" cy="510071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800" dirty="0">
                <a:solidFill>
                  <a:schemeClr val="tx2"/>
                </a:solidFill>
                <a:cs typeface="+mn-ea"/>
                <a:sym typeface="+mn-lt"/>
              </a:rPr>
              <a:t>TEXT HERE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3080896" y="1671181"/>
            <a:ext cx="2232135" cy="383296"/>
            <a:chOff x="2152203" y="1354680"/>
            <a:chExt cx="1674101" cy="287472"/>
          </a:xfrm>
        </p:grpSpPr>
        <p:cxnSp>
          <p:nvCxnSpPr>
            <p:cNvPr id="19" name="直接连接符 18"/>
            <p:cNvCxnSpPr/>
            <p:nvPr/>
          </p:nvCxnSpPr>
          <p:spPr>
            <a:xfrm>
              <a:off x="3444400" y="1354680"/>
              <a:ext cx="381904" cy="287472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>
              <a:off x="2152203" y="1363196"/>
              <a:ext cx="1304466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Freeform 333"/>
          <p:cNvSpPr>
            <a:spLocks noEditPoints="1"/>
          </p:cNvSpPr>
          <p:nvPr/>
        </p:nvSpPr>
        <p:spPr bwMode="auto">
          <a:xfrm>
            <a:off x="3764959" y="4542469"/>
            <a:ext cx="524015" cy="519115"/>
          </a:xfrm>
          <a:custGeom>
            <a:avLst/>
            <a:gdLst>
              <a:gd name="T0" fmla="*/ 22 w 45"/>
              <a:gd name="T1" fmla="*/ 11 h 45"/>
              <a:gd name="T2" fmla="*/ 16 w 45"/>
              <a:gd name="T3" fmla="*/ 13 h 45"/>
              <a:gd name="T4" fmla="*/ 12 w 45"/>
              <a:gd name="T5" fmla="*/ 20 h 45"/>
              <a:gd name="T6" fmla="*/ 11 w 45"/>
              <a:gd name="T7" fmla="*/ 20 h 45"/>
              <a:gd name="T8" fmla="*/ 15 w 45"/>
              <a:gd name="T9" fmla="*/ 24 h 45"/>
              <a:gd name="T10" fmla="*/ 20 w 45"/>
              <a:gd name="T11" fmla="*/ 20 h 45"/>
              <a:gd name="T12" fmla="*/ 18 w 45"/>
              <a:gd name="T13" fmla="*/ 20 h 45"/>
              <a:gd name="T14" fmla="*/ 23 w 45"/>
              <a:gd name="T15" fmla="*/ 16 h 45"/>
              <a:gd name="T16" fmla="*/ 27 w 45"/>
              <a:gd name="T17" fmla="*/ 17 h 45"/>
              <a:gd name="T18" fmla="*/ 28 w 45"/>
              <a:gd name="T19" fmla="*/ 23 h 45"/>
              <a:gd name="T20" fmla="*/ 27 w 45"/>
              <a:gd name="T21" fmla="*/ 28 h 45"/>
              <a:gd name="T22" fmla="*/ 23 w 45"/>
              <a:gd name="T23" fmla="*/ 30 h 45"/>
              <a:gd name="T24" fmla="*/ 18 w 45"/>
              <a:gd name="T25" fmla="*/ 26 h 45"/>
              <a:gd name="T26" fmla="*/ 12 w 45"/>
              <a:gd name="T27" fmla="*/ 26 h 45"/>
              <a:gd name="T28" fmla="*/ 16 w 45"/>
              <a:gd name="T29" fmla="*/ 33 h 45"/>
              <a:gd name="T30" fmla="*/ 22 w 45"/>
              <a:gd name="T31" fmla="*/ 35 h 45"/>
              <a:gd name="T32" fmla="*/ 31 w 45"/>
              <a:gd name="T33" fmla="*/ 32 h 45"/>
              <a:gd name="T34" fmla="*/ 34 w 45"/>
              <a:gd name="T35" fmla="*/ 23 h 45"/>
              <a:gd name="T36" fmla="*/ 31 w 45"/>
              <a:gd name="T37" fmla="*/ 14 h 45"/>
              <a:gd name="T38" fmla="*/ 22 w 45"/>
              <a:gd name="T39" fmla="*/ 11 h 45"/>
              <a:gd name="T40" fmla="*/ 22 w 45"/>
              <a:gd name="T41" fmla="*/ 0 h 45"/>
              <a:gd name="T42" fmla="*/ 0 w 45"/>
              <a:gd name="T43" fmla="*/ 23 h 45"/>
              <a:gd name="T44" fmla="*/ 22 w 45"/>
              <a:gd name="T45" fmla="*/ 45 h 45"/>
              <a:gd name="T46" fmla="*/ 45 w 45"/>
              <a:gd name="T47" fmla="*/ 23 h 45"/>
              <a:gd name="T48" fmla="*/ 22 w 45"/>
              <a:gd name="T49" fmla="*/ 0 h 45"/>
              <a:gd name="T50" fmla="*/ 22 w 45"/>
              <a:gd name="T51" fmla="*/ 41 h 45"/>
              <a:gd name="T52" fmla="*/ 4 w 45"/>
              <a:gd name="T53" fmla="*/ 23 h 45"/>
              <a:gd name="T54" fmla="*/ 22 w 45"/>
              <a:gd name="T55" fmla="*/ 4 h 45"/>
              <a:gd name="T56" fmla="*/ 41 w 45"/>
              <a:gd name="T57" fmla="*/ 23 h 45"/>
              <a:gd name="T58" fmla="*/ 22 w 45"/>
              <a:gd name="T59" fmla="*/ 4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5" h="45">
                <a:moveTo>
                  <a:pt x="22" y="11"/>
                </a:moveTo>
                <a:cubicBezTo>
                  <a:pt x="20" y="11"/>
                  <a:pt x="18" y="12"/>
                  <a:pt x="16" y="13"/>
                </a:cubicBezTo>
                <a:cubicBezTo>
                  <a:pt x="14" y="15"/>
                  <a:pt x="13" y="17"/>
                  <a:pt x="12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5" y="24"/>
                  <a:pt x="15" y="24"/>
                  <a:pt x="15" y="24"/>
                </a:cubicBezTo>
                <a:cubicBezTo>
                  <a:pt x="20" y="20"/>
                  <a:pt x="20" y="20"/>
                  <a:pt x="20" y="20"/>
                </a:cubicBezTo>
                <a:cubicBezTo>
                  <a:pt x="18" y="20"/>
                  <a:pt x="18" y="20"/>
                  <a:pt x="18" y="20"/>
                </a:cubicBezTo>
                <a:cubicBezTo>
                  <a:pt x="18" y="17"/>
                  <a:pt x="20" y="16"/>
                  <a:pt x="23" y="16"/>
                </a:cubicBezTo>
                <a:cubicBezTo>
                  <a:pt x="25" y="16"/>
                  <a:pt x="26" y="16"/>
                  <a:pt x="27" y="17"/>
                </a:cubicBezTo>
                <a:cubicBezTo>
                  <a:pt x="28" y="19"/>
                  <a:pt x="28" y="21"/>
                  <a:pt x="28" y="23"/>
                </a:cubicBezTo>
                <a:cubicBezTo>
                  <a:pt x="28" y="25"/>
                  <a:pt x="28" y="27"/>
                  <a:pt x="27" y="28"/>
                </a:cubicBezTo>
                <a:cubicBezTo>
                  <a:pt x="26" y="30"/>
                  <a:pt x="25" y="30"/>
                  <a:pt x="23" y="30"/>
                </a:cubicBezTo>
                <a:cubicBezTo>
                  <a:pt x="20" y="30"/>
                  <a:pt x="18" y="29"/>
                  <a:pt x="18" y="26"/>
                </a:cubicBezTo>
                <a:cubicBezTo>
                  <a:pt x="12" y="26"/>
                  <a:pt x="12" y="26"/>
                  <a:pt x="12" y="26"/>
                </a:cubicBezTo>
                <a:cubicBezTo>
                  <a:pt x="13" y="29"/>
                  <a:pt x="14" y="31"/>
                  <a:pt x="16" y="33"/>
                </a:cubicBezTo>
                <a:cubicBezTo>
                  <a:pt x="17" y="34"/>
                  <a:pt x="20" y="35"/>
                  <a:pt x="22" y="35"/>
                </a:cubicBezTo>
                <a:cubicBezTo>
                  <a:pt x="26" y="35"/>
                  <a:pt x="29" y="34"/>
                  <a:pt x="31" y="32"/>
                </a:cubicBezTo>
                <a:cubicBezTo>
                  <a:pt x="33" y="29"/>
                  <a:pt x="34" y="27"/>
                  <a:pt x="34" y="23"/>
                </a:cubicBezTo>
                <a:cubicBezTo>
                  <a:pt x="34" y="20"/>
                  <a:pt x="33" y="17"/>
                  <a:pt x="31" y="14"/>
                </a:cubicBezTo>
                <a:cubicBezTo>
                  <a:pt x="29" y="12"/>
                  <a:pt x="26" y="11"/>
                  <a:pt x="22" y="11"/>
                </a:cubicBezTo>
                <a:close/>
                <a:moveTo>
                  <a:pt x="22" y="0"/>
                </a:moveTo>
                <a:cubicBezTo>
                  <a:pt x="10" y="0"/>
                  <a:pt x="0" y="10"/>
                  <a:pt x="0" y="23"/>
                </a:cubicBezTo>
                <a:cubicBezTo>
                  <a:pt x="0" y="35"/>
                  <a:pt x="10" y="45"/>
                  <a:pt x="22" y="45"/>
                </a:cubicBezTo>
                <a:cubicBezTo>
                  <a:pt x="35" y="45"/>
                  <a:pt x="45" y="35"/>
                  <a:pt x="45" y="23"/>
                </a:cubicBezTo>
                <a:cubicBezTo>
                  <a:pt x="45" y="10"/>
                  <a:pt x="35" y="0"/>
                  <a:pt x="22" y="0"/>
                </a:cubicBezTo>
                <a:close/>
                <a:moveTo>
                  <a:pt x="22" y="41"/>
                </a:moveTo>
                <a:cubicBezTo>
                  <a:pt x="12" y="41"/>
                  <a:pt x="4" y="33"/>
                  <a:pt x="4" y="23"/>
                </a:cubicBezTo>
                <a:cubicBezTo>
                  <a:pt x="4" y="13"/>
                  <a:pt x="12" y="4"/>
                  <a:pt x="22" y="4"/>
                </a:cubicBezTo>
                <a:cubicBezTo>
                  <a:pt x="33" y="4"/>
                  <a:pt x="41" y="13"/>
                  <a:pt x="41" y="23"/>
                </a:cubicBezTo>
                <a:cubicBezTo>
                  <a:pt x="41" y="33"/>
                  <a:pt x="33" y="41"/>
                  <a:pt x="22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id-ID" sz="2400"/>
          </a:p>
        </p:txBody>
      </p:sp>
      <p:sp>
        <p:nvSpPr>
          <p:cNvPr id="41" name="Freeform 334"/>
          <p:cNvSpPr>
            <a:spLocks noEditPoints="1"/>
          </p:cNvSpPr>
          <p:nvPr/>
        </p:nvSpPr>
        <p:spPr bwMode="auto">
          <a:xfrm>
            <a:off x="1501232" y="4575940"/>
            <a:ext cx="519115" cy="519115"/>
          </a:xfrm>
          <a:custGeom>
            <a:avLst/>
            <a:gdLst>
              <a:gd name="T0" fmla="*/ 14 w 45"/>
              <a:gd name="T1" fmla="*/ 21 h 45"/>
              <a:gd name="T2" fmla="*/ 31 w 45"/>
              <a:gd name="T3" fmla="*/ 21 h 45"/>
              <a:gd name="T4" fmla="*/ 31 w 45"/>
              <a:gd name="T5" fmla="*/ 17 h 45"/>
              <a:gd name="T6" fmla="*/ 14 w 45"/>
              <a:gd name="T7" fmla="*/ 17 h 45"/>
              <a:gd name="T8" fmla="*/ 14 w 45"/>
              <a:gd name="T9" fmla="*/ 21 h 45"/>
              <a:gd name="T10" fmla="*/ 14 w 45"/>
              <a:gd name="T11" fmla="*/ 29 h 45"/>
              <a:gd name="T12" fmla="*/ 31 w 45"/>
              <a:gd name="T13" fmla="*/ 29 h 45"/>
              <a:gd name="T14" fmla="*/ 31 w 45"/>
              <a:gd name="T15" fmla="*/ 25 h 45"/>
              <a:gd name="T16" fmla="*/ 14 w 45"/>
              <a:gd name="T17" fmla="*/ 25 h 45"/>
              <a:gd name="T18" fmla="*/ 14 w 45"/>
              <a:gd name="T19" fmla="*/ 29 h 45"/>
              <a:gd name="T20" fmla="*/ 22 w 45"/>
              <a:gd name="T21" fmla="*/ 0 h 45"/>
              <a:gd name="T22" fmla="*/ 0 w 45"/>
              <a:gd name="T23" fmla="*/ 23 h 45"/>
              <a:gd name="T24" fmla="*/ 22 w 45"/>
              <a:gd name="T25" fmla="*/ 45 h 45"/>
              <a:gd name="T26" fmla="*/ 45 w 45"/>
              <a:gd name="T27" fmla="*/ 23 h 45"/>
              <a:gd name="T28" fmla="*/ 22 w 45"/>
              <a:gd name="T29" fmla="*/ 0 h 45"/>
              <a:gd name="T30" fmla="*/ 22 w 45"/>
              <a:gd name="T31" fmla="*/ 41 h 45"/>
              <a:gd name="T32" fmla="*/ 4 w 45"/>
              <a:gd name="T33" fmla="*/ 23 h 45"/>
              <a:gd name="T34" fmla="*/ 22 w 45"/>
              <a:gd name="T35" fmla="*/ 4 h 45"/>
              <a:gd name="T36" fmla="*/ 41 w 45"/>
              <a:gd name="T37" fmla="*/ 23 h 45"/>
              <a:gd name="T38" fmla="*/ 22 w 45"/>
              <a:gd name="T39" fmla="*/ 4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5" h="45">
                <a:moveTo>
                  <a:pt x="14" y="21"/>
                </a:moveTo>
                <a:cubicBezTo>
                  <a:pt x="31" y="21"/>
                  <a:pt x="31" y="21"/>
                  <a:pt x="31" y="21"/>
                </a:cubicBezTo>
                <a:cubicBezTo>
                  <a:pt x="31" y="17"/>
                  <a:pt x="31" y="17"/>
                  <a:pt x="31" y="17"/>
                </a:cubicBezTo>
                <a:cubicBezTo>
                  <a:pt x="14" y="17"/>
                  <a:pt x="14" y="17"/>
                  <a:pt x="14" y="17"/>
                </a:cubicBezTo>
                <a:lnTo>
                  <a:pt x="14" y="21"/>
                </a:lnTo>
                <a:close/>
                <a:moveTo>
                  <a:pt x="14" y="29"/>
                </a:moveTo>
                <a:cubicBezTo>
                  <a:pt x="31" y="29"/>
                  <a:pt x="31" y="29"/>
                  <a:pt x="31" y="29"/>
                </a:cubicBezTo>
                <a:cubicBezTo>
                  <a:pt x="31" y="25"/>
                  <a:pt x="31" y="25"/>
                  <a:pt x="31" y="25"/>
                </a:cubicBezTo>
                <a:cubicBezTo>
                  <a:pt x="14" y="25"/>
                  <a:pt x="14" y="25"/>
                  <a:pt x="14" y="25"/>
                </a:cubicBezTo>
                <a:lnTo>
                  <a:pt x="14" y="29"/>
                </a:lnTo>
                <a:close/>
                <a:moveTo>
                  <a:pt x="22" y="0"/>
                </a:moveTo>
                <a:cubicBezTo>
                  <a:pt x="10" y="0"/>
                  <a:pt x="0" y="10"/>
                  <a:pt x="0" y="23"/>
                </a:cubicBezTo>
                <a:cubicBezTo>
                  <a:pt x="0" y="35"/>
                  <a:pt x="10" y="45"/>
                  <a:pt x="22" y="45"/>
                </a:cubicBezTo>
                <a:cubicBezTo>
                  <a:pt x="35" y="45"/>
                  <a:pt x="45" y="35"/>
                  <a:pt x="45" y="23"/>
                </a:cubicBezTo>
                <a:cubicBezTo>
                  <a:pt x="45" y="10"/>
                  <a:pt x="35" y="0"/>
                  <a:pt x="22" y="0"/>
                </a:cubicBezTo>
                <a:close/>
                <a:moveTo>
                  <a:pt x="22" y="41"/>
                </a:moveTo>
                <a:cubicBezTo>
                  <a:pt x="12" y="41"/>
                  <a:pt x="4" y="33"/>
                  <a:pt x="4" y="23"/>
                </a:cubicBezTo>
                <a:cubicBezTo>
                  <a:pt x="4" y="13"/>
                  <a:pt x="12" y="4"/>
                  <a:pt x="22" y="4"/>
                </a:cubicBezTo>
                <a:cubicBezTo>
                  <a:pt x="32" y="4"/>
                  <a:pt x="41" y="13"/>
                  <a:pt x="41" y="23"/>
                </a:cubicBezTo>
                <a:cubicBezTo>
                  <a:pt x="41" y="33"/>
                  <a:pt x="32" y="41"/>
                  <a:pt x="22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id-ID" sz="2400"/>
          </a:p>
        </p:txBody>
      </p:sp>
      <p:sp>
        <p:nvSpPr>
          <p:cNvPr id="42" name="Freeform 337"/>
          <p:cNvSpPr>
            <a:spLocks noEditPoints="1"/>
          </p:cNvSpPr>
          <p:nvPr/>
        </p:nvSpPr>
        <p:spPr bwMode="auto">
          <a:xfrm>
            <a:off x="5928413" y="4542469"/>
            <a:ext cx="524015" cy="519115"/>
          </a:xfrm>
          <a:custGeom>
            <a:avLst/>
            <a:gdLst>
              <a:gd name="T0" fmla="*/ 32 w 45"/>
              <a:gd name="T1" fmla="*/ 16 h 45"/>
              <a:gd name="T2" fmla="*/ 27 w 45"/>
              <a:gd name="T3" fmla="*/ 16 h 45"/>
              <a:gd name="T4" fmla="*/ 27 w 45"/>
              <a:gd name="T5" fmla="*/ 11 h 45"/>
              <a:gd name="T6" fmla="*/ 27 w 45"/>
              <a:gd name="T7" fmla="*/ 11 h 45"/>
              <a:gd name="T8" fmla="*/ 26 w 45"/>
              <a:gd name="T9" fmla="*/ 10 h 45"/>
              <a:gd name="T10" fmla="*/ 14 w 45"/>
              <a:gd name="T11" fmla="*/ 10 h 45"/>
              <a:gd name="T12" fmla="*/ 13 w 45"/>
              <a:gd name="T13" fmla="*/ 11 h 45"/>
              <a:gd name="T14" fmla="*/ 12 w 45"/>
              <a:gd name="T15" fmla="*/ 11 h 45"/>
              <a:gd name="T16" fmla="*/ 12 w 45"/>
              <a:gd name="T17" fmla="*/ 28 h 45"/>
              <a:gd name="T18" fmla="*/ 13 w 45"/>
              <a:gd name="T19" fmla="*/ 29 h 45"/>
              <a:gd name="T20" fmla="*/ 14 w 45"/>
              <a:gd name="T21" fmla="*/ 29 h 45"/>
              <a:gd name="T22" fmla="*/ 19 w 45"/>
              <a:gd name="T23" fmla="*/ 29 h 45"/>
              <a:gd name="T24" fmla="*/ 19 w 45"/>
              <a:gd name="T25" fmla="*/ 34 h 45"/>
              <a:gd name="T26" fmla="*/ 19 w 45"/>
              <a:gd name="T27" fmla="*/ 35 h 45"/>
              <a:gd name="T28" fmla="*/ 20 w 45"/>
              <a:gd name="T29" fmla="*/ 35 h 45"/>
              <a:gd name="T30" fmla="*/ 32 w 45"/>
              <a:gd name="T31" fmla="*/ 35 h 45"/>
              <a:gd name="T32" fmla="*/ 33 w 45"/>
              <a:gd name="T33" fmla="*/ 35 h 45"/>
              <a:gd name="T34" fmla="*/ 33 w 45"/>
              <a:gd name="T35" fmla="*/ 34 h 45"/>
              <a:gd name="T36" fmla="*/ 33 w 45"/>
              <a:gd name="T37" fmla="*/ 18 h 45"/>
              <a:gd name="T38" fmla="*/ 33 w 45"/>
              <a:gd name="T39" fmla="*/ 17 h 45"/>
              <a:gd name="T40" fmla="*/ 32 w 45"/>
              <a:gd name="T41" fmla="*/ 16 h 45"/>
              <a:gd name="T42" fmla="*/ 20 w 45"/>
              <a:gd name="T43" fmla="*/ 16 h 45"/>
              <a:gd name="T44" fmla="*/ 19 w 45"/>
              <a:gd name="T45" fmla="*/ 17 h 45"/>
              <a:gd name="T46" fmla="*/ 19 w 45"/>
              <a:gd name="T47" fmla="*/ 18 h 45"/>
              <a:gd name="T48" fmla="*/ 19 w 45"/>
              <a:gd name="T49" fmla="*/ 27 h 45"/>
              <a:gd name="T50" fmla="*/ 15 w 45"/>
              <a:gd name="T51" fmla="*/ 27 h 45"/>
              <a:gd name="T52" fmla="*/ 15 w 45"/>
              <a:gd name="T53" fmla="*/ 13 h 45"/>
              <a:gd name="T54" fmla="*/ 25 w 45"/>
              <a:gd name="T55" fmla="*/ 13 h 45"/>
              <a:gd name="T56" fmla="*/ 25 w 45"/>
              <a:gd name="T57" fmla="*/ 16 h 45"/>
              <a:gd name="T58" fmla="*/ 20 w 45"/>
              <a:gd name="T59" fmla="*/ 16 h 45"/>
              <a:gd name="T60" fmla="*/ 31 w 45"/>
              <a:gd name="T61" fmla="*/ 33 h 45"/>
              <a:gd name="T62" fmla="*/ 21 w 45"/>
              <a:gd name="T63" fmla="*/ 33 h 45"/>
              <a:gd name="T64" fmla="*/ 21 w 45"/>
              <a:gd name="T65" fmla="*/ 19 h 45"/>
              <a:gd name="T66" fmla="*/ 31 w 45"/>
              <a:gd name="T67" fmla="*/ 19 h 45"/>
              <a:gd name="T68" fmla="*/ 31 w 45"/>
              <a:gd name="T69" fmla="*/ 33 h 45"/>
              <a:gd name="T70" fmla="*/ 23 w 45"/>
              <a:gd name="T71" fmla="*/ 0 h 45"/>
              <a:gd name="T72" fmla="*/ 0 w 45"/>
              <a:gd name="T73" fmla="*/ 23 h 45"/>
              <a:gd name="T74" fmla="*/ 23 w 45"/>
              <a:gd name="T75" fmla="*/ 45 h 45"/>
              <a:gd name="T76" fmla="*/ 45 w 45"/>
              <a:gd name="T77" fmla="*/ 23 h 45"/>
              <a:gd name="T78" fmla="*/ 23 w 45"/>
              <a:gd name="T79" fmla="*/ 0 h 45"/>
              <a:gd name="T80" fmla="*/ 23 w 45"/>
              <a:gd name="T81" fmla="*/ 41 h 45"/>
              <a:gd name="T82" fmla="*/ 5 w 45"/>
              <a:gd name="T83" fmla="*/ 23 h 45"/>
              <a:gd name="T84" fmla="*/ 23 w 45"/>
              <a:gd name="T85" fmla="*/ 4 h 45"/>
              <a:gd name="T86" fmla="*/ 41 w 45"/>
              <a:gd name="T87" fmla="*/ 23 h 45"/>
              <a:gd name="T88" fmla="*/ 23 w 45"/>
              <a:gd name="T89" fmla="*/ 4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5" h="45">
                <a:moveTo>
                  <a:pt x="32" y="16"/>
                </a:moveTo>
                <a:cubicBezTo>
                  <a:pt x="27" y="16"/>
                  <a:pt x="27" y="16"/>
                  <a:pt x="27" y="16"/>
                </a:cubicBezTo>
                <a:cubicBezTo>
                  <a:pt x="27" y="11"/>
                  <a:pt x="27" y="11"/>
                  <a:pt x="27" y="11"/>
                </a:cubicBezTo>
                <a:cubicBezTo>
                  <a:pt x="27" y="11"/>
                  <a:pt x="27" y="11"/>
                  <a:pt x="27" y="11"/>
                </a:cubicBezTo>
                <a:cubicBezTo>
                  <a:pt x="27" y="10"/>
                  <a:pt x="26" y="10"/>
                  <a:pt x="26" y="10"/>
                </a:cubicBezTo>
                <a:cubicBezTo>
                  <a:pt x="14" y="10"/>
                  <a:pt x="14" y="10"/>
                  <a:pt x="14" y="10"/>
                </a:cubicBezTo>
                <a:cubicBezTo>
                  <a:pt x="13" y="10"/>
                  <a:pt x="13" y="10"/>
                  <a:pt x="13" y="11"/>
                </a:cubicBezTo>
                <a:cubicBezTo>
                  <a:pt x="13" y="11"/>
                  <a:pt x="12" y="11"/>
                  <a:pt x="12" y="11"/>
                </a:cubicBezTo>
                <a:cubicBezTo>
                  <a:pt x="12" y="28"/>
                  <a:pt x="12" y="28"/>
                  <a:pt x="12" y="28"/>
                </a:cubicBezTo>
                <a:cubicBezTo>
                  <a:pt x="12" y="28"/>
                  <a:pt x="13" y="29"/>
                  <a:pt x="13" y="29"/>
                </a:cubicBezTo>
                <a:cubicBezTo>
                  <a:pt x="13" y="29"/>
                  <a:pt x="13" y="29"/>
                  <a:pt x="14" y="29"/>
                </a:cubicBezTo>
                <a:cubicBezTo>
                  <a:pt x="19" y="29"/>
                  <a:pt x="19" y="29"/>
                  <a:pt x="19" y="29"/>
                </a:cubicBezTo>
                <a:cubicBezTo>
                  <a:pt x="19" y="34"/>
                  <a:pt x="19" y="34"/>
                  <a:pt x="19" y="3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5"/>
                  <a:pt x="19" y="35"/>
                  <a:pt x="20" y="35"/>
                </a:cubicBezTo>
                <a:cubicBezTo>
                  <a:pt x="32" y="35"/>
                  <a:pt x="32" y="35"/>
                  <a:pt x="32" y="35"/>
                </a:cubicBezTo>
                <a:cubicBezTo>
                  <a:pt x="32" y="35"/>
                  <a:pt x="33" y="35"/>
                  <a:pt x="33" y="35"/>
                </a:cubicBezTo>
                <a:cubicBezTo>
                  <a:pt x="33" y="35"/>
                  <a:pt x="33" y="35"/>
                  <a:pt x="33" y="34"/>
                </a:cubicBezTo>
                <a:cubicBezTo>
                  <a:pt x="33" y="18"/>
                  <a:pt x="33" y="18"/>
                  <a:pt x="33" y="18"/>
                </a:cubicBezTo>
                <a:cubicBezTo>
                  <a:pt x="33" y="17"/>
                  <a:pt x="33" y="17"/>
                  <a:pt x="33" y="17"/>
                </a:cubicBezTo>
                <a:cubicBezTo>
                  <a:pt x="33" y="16"/>
                  <a:pt x="32" y="16"/>
                  <a:pt x="32" y="16"/>
                </a:cubicBezTo>
                <a:close/>
                <a:moveTo>
                  <a:pt x="20" y="16"/>
                </a:moveTo>
                <a:cubicBezTo>
                  <a:pt x="19" y="16"/>
                  <a:pt x="19" y="17"/>
                  <a:pt x="19" y="17"/>
                </a:cubicBezTo>
                <a:cubicBezTo>
                  <a:pt x="19" y="17"/>
                  <a:pt x="19" y="17"/>
                  <a:pt x="19" y="18"/>
                </a:cubicBezTo>
                <a:cubicBezTo>
                  <a:pt x="19" y="27"/>
                  <a:pt x="19" y="27"/>
                  <a:pt x="19" y="27"/>
                </a:cubicBezTo>
                <a:cubicBezTo>
                  <a:pt x="15" y="27"/>
                  <a:pt x="15" y="27"/>
                  <a:pt x="15" y="27"/>
                </a:cubicBezTo>
                <a:cubicBezTo>
                  <a:pt x="15" y="13"/>
                  <a:pt x="15" y="13"/>
                  <a:pt x="15" y="13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6"/>
                  <a:pt x="25" y="16"/>
                  <a:pt x="25" y="16"/>
                </a:cubicBezTo>
                <a:lnTo>
                  <a:pt x="20" y="16"/>
                </a:lnTo>
                <a:close/>
                <a:moveTo>
                  <a:pt x="31" y="33"/>
                </a:moveTo>
                <a:cubicBezTo>
                  <a:pt x="21" y="33"/>
                  <a:pt x="21" y="33"/>
                  <a:pt x="21" y="33"/>
                </a:cubicBezTo>
                <a:cubicBezTo>
                  <a:pt x="21" y="19"/>
                  <a:pt x="21" y="19"/>
                  <a:pt x="21" y="19"/>
                </a:cubicBezTo>
                <a:cubicBezTo>
                  <a:pt x="31" y="19"/>
                  <a:pt x="31" y="19"/>
                  <a:pt x="31" y="19"/>
                </a:cubicBezTo>
                <a:lnTo>
                  <a:pt x="31" y="33"/>
                </a:lnTo>
                <a:close/>
                <a:moveTo>
                  <a:pt x="23" y="0"/>
                </a:moveTo>
                <a:cubicBezTo>
                  <a:pt x="10" y="0"/>
                  <a:pt x="0" y="10"/>
                  <a:pt x="0" y="23"/>
                </a:cubicBezTo>
                <a:cubicBezTo>
                  <a:pt x="0" y="35"/>
                  <a:pt x="10" y="45"/>
                  <a:pt x="23" y="45"/>
                </a:cubicBezTo>
                <a:cubicBezTo>
                  <a:pt x="35" y="45"/>
                  <a:pt x="45" y="35"/>
                  <a:pt x="45" y="23"/>
                </a:cubicBezTo>
                <a:cubicBezTo>
                  <a:pt x="45" y="10"/>
                  <a:pt x="35" y="0"/>
                  <a:pt x="23" y="0"/>
                </a:cubicBezTo>
                <a:close/>
                <a:moveTo>
                  <a:pt x="23" y="41"/>
                </a:moveTo>
                <a:cubicBezTo>
                  <a:pt x="13" y="41"/>
                  <a:pt x="5" y="33"/>
                  <a:pt x="5" y="23"/>
                </a:cubicBezTo>
                <a:cubicBezTo>
                  <a:pt x="5" y="13"/>
                  <a:pt x="13" y="4"/>
                  <a:pt x="23" y="4"/>
                </a:cubicBezTo>
                <a:cubicBezTo>
                  <a:pt x="33" y="4"/>
                  <a:pt x="41" y="13"/>
                  <a:pt x="41" y="23"/>
                </a:cubicBezTo>
                <a:cubicBezTo>
                  <a:pt x="41" y="33"/>
                  <a:pt x="33" y="41"/>
                  <a:pt x="23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id-ID" sz="2400"/>
          </a:p>
        </p:txBody>
      </p:sp>
      <p:sp>
        <p:nvSpPr>
          <p:cNvPr id="25" name="Content Placeholder 2"/>
          <p:cNvSpPr txBox="1"/>
          <p:nvPr/>
        </p:nvSpPr>
        <p:spPr>
          <a:xfrm>
            <a:off x="990011" y="2104166"/>
            <a:ext cx="2141045" cy="510071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800" dirty="0">
                <a:solidFill>
                  <a:schemeClr val="tx2"/>
                </a:solidFill>
                <a:cs typeface="+mn-ea"/>
                <a:sym typeface="+mn-lt"/>
              </a:rPr>
              <a:t>TEXT HERE</a:t>
            </a:r>
          </a:p>
        </p:txBody>
      </p:sp>
      <p:grpSp>
        <p:nvGrpSpPr>
          <p:cNvPr id="27" name="组合 26"/>
          <p:cNvGrpSpPr/>
          <p:nvPr/>
        </p:nvGrpSpPr>
        <p:grpSpPr>
          <a:xfrm>
            <a:off x="3080898" y="2326861"/>
            <a:ext cx="1329269" cy="383296"/>
            <a:chOff x="2829353" y="1354680"/>
            <a:chExt cx="996951" cy="287472"/>
          </a:xfrm>
        </p:grpSpPr>
        <p:cxnSp>
          <p:nvCxnSpPr>
            <p:cNvPr id="28" name="直接连接符 27"/>
            <p:cNvCxnSpPr/>
            <p:nvPr/>
          </p:nvCxnSpPr>
          <p:spPr>
            <a:xfrm>
              <a:off x="3444400" y="1354680"/>
              <a:ext cx="381904" cy="287472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2829354" y="1362300"/>
              <a:ext cx="627315" cy="89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Content Placeholder 2"/>
          <p:cNvSpPr txBox="1"/>
          <p:nvPr/>
        </p:nvSpPr>
        <p:spPr>
          <a:xfrm>
            <a:off x="990010" y="2749393"/>
            <a:ext cx="2141045" cy="510071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800" dirty="0">
                <a:solidFill>
                  <a:schemeClr val="tx2"/>
                </a:solidFill>
                <a:cs typeface="+mn-ea"/>
                <a:sym typeface="+mn-lt"/>
              </a:rPr>
              <a:t>TEXT HERE</a:t>
            </a:r>
          </a:p>
        </p:txBody>
      </p:sp>
      <p:cxnSp>
        <p:nvCxnSpPr>
          <p:cNvPr id="32" name="直接连接符 31"/>
          <p:cNvCxnSpPr/>
          <p:nvPr/>
        </p:nvCxnSpPr>
        <p:spPr>
          <a:xfrm>
            <a:off x="3080896" y="2901249"/>
            <a:ext cx="543002" cy="408736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/>
          <p:cNvSpPr txBox="1"/>
          <p:nvPr/>
        </p:nvSpPr>
        <p:spPr>
          <a:xfrm>
            <a:off x="8091867" y="4825108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2904077" y="4542495"/>
            <a:ext cx="0" cy="149771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 txBox="1"/>
          <p:nvPr/>
        </p:nvSpPr>
        <p:spPr>
          <a:xfrm>
            <a:off x="3234878" y="5291352"/>
            <a:ext cx="1584176" cy="843680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tx2"/>
                </a:solidFill>
                <a:cs typeface="+mn-ea"/>
                <a:sym typeface="+mn-lt"/>
              </a:rPr>
              <a:t>Lorem ipsum dolor sit amet, </a:t>
            </a:r>
            <a:r>
              <a:rPr lang="en-US" dirty="0" err="1" smtClean="0">
                <a:solidFill>
                  <a:schemeClr val="tx2"/>
                </a:solidFill>
                <a:cs typeface="+mn-ea"/>
                <a:sym typeface="+mn-lt"/>
              </a:rPr>
              <a:t>consectetur</a:t>
            </a:r>
            <a:endParaRPr lang="en-US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43" name="Content Placeholder 2"/>
          <p:cNvSpPr txBox="1"/>
          <p:nvPr/>
        </p:nvSpPr>
        <p:spPr>
          <a:xfrm>
            <a:off x="5398332" y="5291352"/>
            <a:ext cx="1584176" cy="843680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tx2"/>
                </a:solidFill>
                <a:cs typeface="+mn-ea"/>
                <a:sym typeface="+mn-lt"/>
              </a:rPr>
              <a:t>Lorem ipsum dolor sit amet, </a:t>
            </a:r>
            <a:r>
              <a:rPr lang="en-US" dirty="0" err="1" smtClean="0">
                <a:solidFill>
                  <a:schemeClr val="tx2"/>
                </a:solidFill>
                <a:cs typeface="+mn-ea"/>
                <a:sym typeface="+mn-lt"/>
              </a:rPr>
              <a:t>consectetur</a:t>
            </a:r>
            <a:endParaRPr lang="en-US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cxnSp>
        <p:nvCxnSpPr>
          <p:cNvPr id="45" name="直接连接符 44"/>
          <p:cNvCxnSpPr/>
          <p:nvPr/>
        </p:nvCxnSpPr>
        <p:spPr>
          <a:xfrm>
            <a:off x="5208333" y="4542495"/>
            <a:ext cx="0" cy="149771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13"/>
          <p:cNvSpPr txBox="1"/>
          <p:nvPr/>
        </p:nvSpPr>
        <p:spPr>
          <a:xfrm>
            <a:off x="695400" y="570635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实验结果</a:t>
            </a:r>
            <a:endParaRPr lang="en-US" sz="1400" b="1" dirty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5" name="Freeform 4"/>
          <p:cNvSpPr/>
          <p:nvPr/>
        </p:nvSpPr>
        <p:spPr bwMode="auto">
          <a:xfrm rot="10800000" flipH="1" flipV="1">
            <a:off x="508596" y="524282"/>
            <a:ext cx="360065" cy="360000"/>
          </a:xfrm>
          <a:prstGeom prst="rect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7" name="Freeform 4"/>
          <p:cNvSpPr/>
          <p:nvPr/>
        </p:nvSpPr>
        <p:spPr bwMode="auto">
          <a:xfrm rot="10800000" flipH="1" flipV="1">
            <a:off x="7748227" y="4609543"/>
            <a:ext cx="4684477" cy="1564521"/>
          </a:xfrm>
          <a:prstGeom prst="hexagon">
            <a:avLst>
              <a:gd name="adj" fmla="val 0"/>
              <a:gd name="vf" fmla="val 115470"/>
            </a:avLst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8" name="Freeform 4"/>
          <p:cNvSpPr/>
          <p:nvPr/>
        </p:nvSpPr>
        <p:spPr bwMode="auto">
          <a:xfrm rot="10800000" flipH="1" flipV="1">
            <a:off x="-610749" y="4609543"/>
            <a:ext cx="974933" cy="1564522"/>
          </a:xfrm>
          <a:prstGeom prst="hexagon">
            <a:avLst>
              <a:gd name="adj" fmla="val 0"/>
              <a:gd name="vf" fmla="val 115470"/>
            </a:avLst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 rot="16200000">
            <a:off x="4167474" y="5591972"/>
            <a:ext cx="980725" cy="15513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2" name="矩形 1"/>
          <p:cNvSpPr/>
          <p:nvPr/>
        </p:nvSpPr>
        <p:spPr>
          <a:xfrm>
            <a:off x="1552653" y="1526272"/>
            <a:ext cx="9313035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6600" dirty="0">
                <a:solidFill>
                  <a:schemeClr val="accent1"/>
                </a:solidFill>
                <a:latin typeface="Aharoni" panose="02010803020104030203" pitchFamily="2" charset="-79"/>
                <a:ea typeface="Dotum" panose="020B0600000101010101" pitchFamily="34" charset="-127"/>
                <a:cs typeface="Aharoni" panose="02010803020104030203" pitchFamily="2" charset="-79"/>
                <a:sym typeface="+mn-lt"/>
              </a:rPr>
              <a:t>130,000,000</a:t>
            </a:r>
          </a:p>
        </p:txBody>
      </p:sp>
      <p:sp>
        <p:nvSpPr>
          <p:cNvPr id="18" name="矩形 17"/>
          <p:cNvSpPr/>
          <p:nvPr/>
        </p:nvSpPr>
        <p:spPr>
          <a:xfrm rot="16200000">
            <a:off x="5718810" y="5591970"/>
            <a:ext cx="980725" cy="1551335"/>
          </a:xfrm>
          <a:prstGeom prst="rect">
            <a:avLst/>
          </a:prstGeom>
          <a:solidFill>
            <a:srgbClr val="00DC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32" name="矩形 31"/>
          <p:cNvSpPr/>
          <p:nvPr/>
        </p:nvSpPr>
        <p:spPr>
          <a:xfrm rot="16200000">
            <a:off x="7270145" y="5591968"/>
            <a:ext cx="980727" cy="15513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/>
          </a:p>
        </p:txBody>
      </p:sp>
      <p:sp>
        <p:nvSpPr>
          <p:cNvPr id="38" name="Content Placeholder 2"/>
          <p:cNvSpPr txBox="1"/>
          <p:nvPr/>
        </p:nvSpPr>
        <p:spPr>
          <a:xfrm>
            <a:off x="3813730" y="4474065"/>
            <a:ext cx="4790883" cy="57284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Lorem ipsum dolor sit amet, consectetur adipiscing elit. Curabitur elementum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posuere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pretium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. </a:t>
            </a:r>
          </a:p>
        </p:txBody>
      </p:sp>
      <p:sp>
        <p:nvSpPr>
          <p:cNvPr id="10" name="Title 13"/>
          <p:cNvSpPr txBox="1"/>
          <p:nvPr/>
        </p:nvSpPr>
        <p:spPr>
          <a:xfrm>
            <a:off x="695400" y="570635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实验结果</a:t>
            </a:r>
            <a:endParaRPr lang="en-US" sz="1400" b="1" dirty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11" name="Freeform 4"/>
          <p:cNvSpPr/>
          <p:nvPr/>
        </p:nvSpPr>
        <p:spPr bwMode="auto">
          <a:xfrm rot="10800000" flipH="1" flipV="1">
            <a:off x="508596" y="543332"/>
            <a:ext cx="360065" cy="360000"/>
          </a:xfrm>
          <a:prstGeom prst="rect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0"/>
          <p:cNvSpPr/>
          <p:nvPr/>
        </p:nvSpPr>
        <p:spPr>
          <a:xfrm flipH="1">
            <a:off x="6095998" y="2"/>
            <a:ext cx="6095997" cy="68579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cs typeface="+mn-ea"/>
              <a:sym typeface="+mn-lt"/>
            </a:endParaRPr>
          </a:p>
        </p:txBody>
      </p:sp>
      <p:graphicFrame>
        <p:nvGraphicFramePr>
          <p:cNvPr id="91" name="Chart 45"/>
          <p:cNvGraphicFramePr/>
          <p:nvPr/>
        </p:nvGraphicFramePr>
        <p:xfrm>
          <a:off x="7473453" y="1604799"/>
          <a:ext cx="3231059" cy="2154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8" name="Chart 44"/>
          <p:cNvGraphicFramePr/>
          <p:nvPr/>
        </p:nvGraphicFramePr>
        <p:xfrm>
          <a:off x="1487489" y="1655742"/>
          <a:ext cx="3231059" cy="2154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2" name="Content Placeholder 2"/>
          <p:cNvSpPr txBox="1"/>
          <p:nvPr/>
        </p:nvSpPr>
        <p:spPr>
          <a:xfrm>
            <a:off x="8602074" y="4056121"/>
            <a:ext cx="1503124" cy="5941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  <a:cs typeface="+mn-ea"/>
                <a:sym typeface="+mn-lt"/>
              </a:rPr>
              <a:t>LOREM IPSUM DOLOR</a:t>
            </a:r>
          </a:p>
        </p:txBody>
      </p:sp>
      <p:sp>
        <p:nvSpPr>
          <p:cNvPr id="83" name="Content Placeholder 2"/>
          <p:cNvSpPr txBox="1"/>
          <p:nvPr/>
        </p:nvSpPr>
        <p:spPr>
          <a:xfrm>
            <a:off x="8270795" y="4784756"/>
            <a:ext cx="1844414" cy="929424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bg2">
                    <a:lumMod val="90000"/>
                  </a:schemeClr>
                </a:solidFill>
                <a:cs typeface="+mn-ea"/>
                <a:sym typeface="+mn-lt"/>
              </a:rPr>
              <a:t>Lorem ipsum dolor sit amet, consectetur adipiscing elit. </a:t>
            </a:r>
          </a:p>
        </p:txBody>
      </p:sp>
      <p:cxnSp>
        <p:nvCxnSpPr>
          <p:cNvPr id="84" name="直接连接符 83"/>
          <p:cNvCxnSpPr/>
          <p:nvPr/>
        </p:nvCxnSpPr>
        <p:spPr>
          <a:xfrm>
            <a:off x="8024445" y="4718336"/>
            <a:ext cx="2155729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ontent Placeholder 2"/>
          <p:cNvSpPr txBox="1"/>
          <p:nvPr/>
        </p:nvSpPr>
        <p:spPr>
          <a:xfrm>
            <a:off x="2515735" y="4068517"/>
            <a:ext cx="1503124" cy="5941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tx2"/>
                </a:solidFill>
                <a:cs typeface="+mn-ea"/>
                <a:sym typeface="+mn-lt"/>
              </a:rPr>
              <a:t>LOREM IPSUM DOLOR</a:t>
            </a:r>
          </a:p>
        </p:txBody>
      </p:sp>
      <p:sp>
        <p:nvSpPr>
          <p:cNvPr id="44" name="Content Placeholder 2"/>
          <p:cNvSpPr txBox="1"/>
          <p:nvPr/>
        </p:nvSpPr>
        <p:spPr>
          <a:xfrm>
            <a:off x="2100109" y="4797152"/>
            <a:ext cx="1844414" cy="929424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Lorem ipsum dolor sit amet, consectetur adipiscing elit. </a:t>
            </a:r>
          </a:p>
        </p:txBody>
      </p:sp>
      <p:cxnSp>
        <p:nvCxnSpPr>
          <p:cNvPr id="45" name="直接连接符 44"/>
          <p:cNvCxnSpPr/>
          <p:nvPr/>
        </p:nvCxnSpPr>
        <p:spPr>
          <a:xfrm>
            <a:off x="1938106" y="4730732"/>
            <a:ext cx="215572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 txBox="1"/>
          <p:nvPr/>
        </p:nvSpPr>
        <p:spPr>
          <a:xfrm>
            <a:off x="2358192" y="2382788"/>
            <a:ext cx="1503124" cy="5941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accent2"/>
                </a:solidFill>
                <a:cs typeface="+mn-ea"/>
                <a:sym typeface="+mn-lt"/>
              </a:rPr>
              <a:t>60</a:t>
            </a:r>
            <a:r>
              <a:rPr lang="en-US" altLang="zh-CN" sz="3600" dirty="0">
                <a:solidFill>
                  <a:schemeClr val="accent2"/>
                </a:solidFill>
                <a:cs typeface="+mn-ea"/>
                <a:sym typeface="+mn-lt"/>
              </a:rPr>
              <a:t>%</a:t>
            </a:r>
            <a:endParaRPr lang="en-US" sz="3600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47" name="Content Placeholder 2"/>
          <p:cNvSpPr txBox="1"/>
          <p:nvPr/>
        </p:nvSpPr>
        <p:spPr>
          <a:xfrm>
            <a:off x="8383823" y="2382787"/>
            <a:ext cx="1503124" cy="5941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accent1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90</a:t>
            </a:r>
            <a:r>
              <a:rPr lang="en-US" altLang="zh-CN" sz="3600" dirty="0">
                <a:solidFill>
                  <a:schemeClr val="accent1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%</a:t>
            </a:r>
            <a:endParaRPr lang="en-US" sz="3600" dirty="0">
              <a:solidFill>
                <a:schemeClr val="accent1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  <p:cxnSp>
        <p:nvCxnSpPr>
          <p:cNvPr id="25" name="直接连接符 24"/>
          <p:cNvCxnSpPr/>
          <p:nvPr/>
        </p:nvCxnSpPr>
        <p:spPr>
          <a:xfrm>
            <a:off x="1938106" y="4031983"/>
            <a:ext cx="215572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>
            <a:off x="8024445" y="4031983"/>
            <a:ext cx="2155729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组合 1"/>
          <p:cNvGrpSpPr/>
          <p:nvPr/>
        </p:nvGrpSpPr>
        <p:grpSpPr>
          <a:xfrm rot="17901654">
            <a:off x="5899347" y="3202778"/>
            <a:ext cx="393301" cy="452446"/>
            <a:chOff x="4617040" y="2205271"/>
            <a:chExt cx="393301" cy="452446"/>
          </a:xfrm>
        </p:grpSpPr>
        <p:sp>
          <p:nvSpPr>
            <p:cNvPr id="33" name="等腰三角形 32"/>
            <p:cNvSpPr/>
            <p:nvPr/>
          </p:nvSpPr>
          <p:spPr>
            <a:xfrm rot="19760552">
              <a:off x="4617040" y="2205271"/>
              <a:ext cx="261683" cy="248384"/>
            </a:xfrm>
            <a:prstGeom prst="triangle">
              <a:avLst/>
            </a:prstGeom>
            <a:solidFill>
              <a:srgbClr val="415A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  <p:sp>
          <p:nvSpPr>
            <p:cNvPr id="34" name="等腰三角形 33"/>
            <p:cNvSpPr/>
            <p:nvPr/>
          </p:nvSpPr>
          <p:spPr>
            <a:xfrm rot="9014685">
              <a:off x="4748658" y="2409333"/>
              <a:ext cx="261683" cy="248384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/>
            </a:p>
          </p:txBody>
        </p:sp>
      </p:grpSp>
      <p:sp>
        <p:nvSpPr>
          <p:cNvPr id="31" name="Title 13"/>
          <p:cNvSpPr txBox="1"/>
          <p:nvPr/>
        </p:nvSpPr>
        <p:spPr>
          <a:xfrm>
            <a:off x="790273" y="692696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实验</a:t>
            </a:r>
            <a:r>
              <a:rPr lang="zh-CN" altLang="en-US" sz="140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分析</a:t>
            </a:r>
            <a:endParaRPr lang="en-US" sz="1400" b="1" dirty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5" name="Freeform 4"/>
          <p:cNvSpPr/>
          <p:nvPr/>
        </p:nvSpPr>
        <p:spPr bwMode="auto">
          <a:xfrm rot="10800000" flipH="1" flipV="1">
            <a:off x="603469" y="665393"/>
            <a:ext cx="360065" cy="360000"/>
          </a:xfrm>
          <a:prstGeom prst="rect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grpSp>
        <p:nvGrpSpPr>
          <p:cNvPr id="36" name="组合 35"/>
          <p:cNvGrpSpPr/>
          <p:nvPr/>
        </p:nvGrpSpPr>
        <p:grpSpPr>
          <a:xfrm>
            <a:off x="2053666" y="4165716"/>
            <a:ext cx="407988" cy="412750"/>
            <a:chOff x="6677026" y="2624138"/>
            <a:chExt cx="407988" cy="412750"/>
          </a:xfrm>
          <a:solidFill>
            <a:schemeClr val="accent2"/>
          </a:solidFill>
        </p:grpSpPr>
        <p:sp>
          <p:nvSpPr>
            <p:cNvPr id="37" name="Freeform 517"/>
            <p:cNvSpPr/>
            <p:nvPr/>
          </p:nvSpPr>
          <p:spPr bwMode="auto">
            <a:xfrm>
              <a:off x="6711951" y="2905125"/>
              <a:ext cx="347663" cy="11271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5" y="16"/>
                </a:cxn>
                <a:cxn ang="0">
                  <a:pos x="21" y="32"/>
                </a:cxn>
                <a:cxn ang="0">
                  <a:pos x="92" y="32"/>
                </a:cxn>
                <a:cxn ang="0">
                  <a:pos x="103" y="19"/>
                </a:cxn>
                <a:cxn ang="0">
                  <a:pos x="94" y="0"/>
                </a:cxn>
                <a:cxn ang="0">
                  <a:pos x="11" y="0"/>
                </a:cxn>
              </a:cxnLst>
              <a:rect l="0" t="0" r="r" b="b"/>
              <a:pathLst>
                <a:path w="109" h="35">
                  <a:moveTo>
                    <a:pt x="11" y="0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0" y="32"/>
                    <a:pt x="21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109" y="35"/>
                    <a:pt x="103" y="19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8" name="Oval 518"/>
            <p:cNvSpPr>
              <a:spLocks noChangeArrowheads="1"/>
            </p:cNvSpPr>
            <p:nvPr/>
          </p:nvSpPr>
          <p:spPr bwMode="auto">
            <a:xfrm>
              <a:off x="6891339" y="2847975"/>
              <a:ext cx="41275" cy="444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39" name="Oval 519"/>
            <p:cNvSpPr>
              <a:spLocks noChangeArrowheads="1"/>
            </p:cNvSpPr>
            <p:nvPr/>
          </p:nvSpPr>
          <p:spPr bwMode="auto">
            <a:xfrm>
              <a:off x="6829426" y="2838450"/>
              <a:ext cx="42863" cy="41275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0" name="Oval 520"/>
            <p:cNvSpPr>
              <a:spLocks noChangeArrowheads="1"/>
            </p:cNvSpPr>
            <p:nvPr/>
          </p:nvSpPr>
          <p:spPr bwMode="auto">
            <a:xfrm>
              <a:off x="6878639" y="2806700"/>
              <a:ext cx="31750" cy="317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41" name="Freeform 521"/>
            <p:cNvSpPr>
              <a:spLocks noEditPoints="1"/>
            </p:cNvSpPr>
            <p:nvPr/>
          </p:nvSpPr>
          <p:spPr bwMode="auto">
            <a:xfrm>
              <a:off x="6677026" y="2624138"/>
              <a:ext cx="407988" cy="412750"/>
            </a:xfrm>
            <a:custGeom>
              <a:avLst/>
              <a:gdLst/>
              <a:ahLst/>
              <a:cxnLst>
                <a:cxn ang="0">
                  <a:pos x="124" y="106"/>
                </a:cxn>
                <a:cxn ang="0">
                  <a:pos x="82" y="33"/>
                </a:cxn>
                <a:cxn ang="0">
                  <a:pos x="82" y="9"/>
                </a:cxn>
                <a:cxn ang="0">
                  <a:pos x="83" y="9"/>
                </a:cxn>
                <a:cxn ang="0">
                  <a:pos x="88" y="4"/>
                </a:cxn>
                <a:cxn ang="0">
                  <a:pos x="83" y="0"/>
                </a:cxn>
                <a:cxn ang="0">
                  <a:pos x="45" y="0"/>
                </a:cxn>
                <a:cxn ang="0">
                  <a:pos x="41" y="4"/>
                </a:cxn>
                <a:cxn ang="0">
                  <a:pos x="45" y="9"/>
                </a:cxn>
                <a:cxn ang="0">
                  <a:pos x="47" y="9"/>
                </a:cxn>
                <a:cxn ang="0">
                  <a:pos x="47" y="33"/>
                </a:cxn>
                <a:cxn ang="0">
                  <a:pos x="5" y="106"/>
                </a:cxn>
                <a:cxn ang="0">
                  <a:pos x="18" y="129"/>
                </a:cxn>
                <a:cxn ang="0">
                  <a:pos x="110" y="129"/>
                </a:cxn>
                <a:cxn ang="0">
                  <a:pos x="124" y="106"/>
                </a:cxn>
                <a:cxn ang="0">
                  <a:pos x="102" y="120"/>
                </a:cxn>
                <a:cxn ang="0">
                  <a:pos x="33" y="120"/>
                </a:cxn>
                <a:cxn ang="0">
                  <a:pos x="17" y="104"/>
                </a:cxn>
                <a:cxn ang="0">
                  <a:pos x="25" y="89"/>
                </a:cxn>
                <a:cxn ang="0">
                  <a:pos x="54" y="38"/>
                </a:cxn>
                <a:cxn ang="0">
                  <a:pos x="55" y="36"/>
                </a:cxn>
                <a:cxn ang="0">
                  <a:pos x="73" y="36"/>
                </a:cxn>
                <a:cxn ang="0">
                  <a:pos x="74" y="38"/>
                </a:cxn>
                <a:cxn ang="0">
                  <a:pos x="104" y="90"/>
                </a:cxn>
                <a:cxn ang="0">
                  <a:pos x="113" y="107"/>
                </a:cxn>
                <a:cxn ang="0">
                  <a:pos x="102" y="120"/>
                </a:cxn>
              </a:cxnLst>
              <a:rect l="0" t="0" r="r" b="b"/>
              <a:pathLst>
                <a:path w="128" h="129">
                  <a:moveTo>
                    <a:pt x="124" y="106"/>
                  </a:moveTo>
                  <a:cubicBezTo>
                    <a:pt x="124" y="106"/>
                    <a:pt x="108" y="76"/>
                    <a:pt x="82" y="33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6" y="9"/>
                    <a:pt x="88" y="7"/>
                    <a:pt x="88" y="4"/>
                  </a:cubicBezTo>
                  <a:cubicBezTo>
                    <a:pt x="88" y="2"/>
                    <a:pt x="86" y="0"/>
                    <a:pt x="8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3" y="0"/>
                    <a:pt x="41" y="2"/>
                    <a:pt x="41" y="4"/>
                  </a:cubicBezTo>
                  <a:cubicBezTo>
                    <a:pt x="41" y="7"/>
                    <a:pt x="43" y="9"/>
                    <a:pt x="45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21" y="76"/>
                    <a:pt x="5" y="106"/>
                    <a:pt x="5" y="106"/>
                  </a:cubicBezTo>
                  <a:cubicBezTo>
                    <a:pt x="0" y="118"/>
                    <a:pt x="5" y="129"/>
                    <a:pt x="18" y="129"/>
                  </a:cubicBezTo>
                  <a:cubicBezTo>
                    <a:pt x="110" y="129"/>
                    <a:pt x="110" y="129"/>
                    <a:pt x="110" y="129"/>
                  </a:cubicBezTo>
                  <a:cubicBezTo>
                    <a:pt x="123" y="129"/>
                    <a:pt x="128" y="118"/>
                    <a:pt x="124" y="106"/>
                  </a:cubicBezTo>
                  <a:close/>
                  <a:moveTo>
                    <a:pt x="102" y="120"/>
                  </a:moveTo>
                  <a:cubicBezTo>
                    <a:pt x="33" y="120"/>
                    <a:pt x="33" y="120"/>
                    <a:pt x="33" y="120"/>
                  </a:cubicBezTo>
                  <a:cubicBezTo>
                    <a:pt x="12" y="120"/>
                    <a:pt x="17" y="104"/>
                    <a:pt x="17" y="104"/>
                  </a:cubicBezTo>
                  <a:cubicBezTo>
                    <a:pt x="17" y="104"/>
                    <a:pt x="22" y="93"/>
                    <a:pt x="25" y="89"/>
                  </a:cubicBezTo>
                  <a:cubicBezTo>
                    <a:pt x="27" y="85"/>
                    <a:pt x="47" y="49"/>
                    <a:pt x="54" y="38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81" y="49"/>
                    <a:pt x="103" y="88"/>
                    <a:pt x="104" y="90"/>
                  </a:cubicBezTo>
                  <a:cubicBezTo>
                    <a:pt x="105" y="92"/>
                    <a:pt x="113" y="107"/>
                    <a:pt x="113" y="107"/>
                  </a:cubicBezTo>
                  <a:cubicBezTo>
                    <a:pt x="119" y="123"/>
                    <a:pt x="102" y="120"/>
                    <a:pt x="102" y="120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  <p:grpSp>
        <p:nvGrpSpPr>
          <p:cNvPr id="79" name="组合 78"/>
          <p:cNvGrpSpPr>
            <a:grpSpLocks noChangeAspect="1"/>
          </p:cNvGrpSpPr>
          <p:nvPr/>
        </p:nvGrpSpPr>
        <p:grpSpPr>
          <a:xfrm>
            <a:off x="8223087" y="4133964"/>
            <a:ext cx="321471" cy="428628"/>
            <a:chOff x="4837113" y="2881313"/>
            <a:chExt cx="709612" cy="946150"/>
          </a:xfrm>
        </p:grpSpPr>
        <p:sp>
          <p:nvSpPr>
            <p:cNvPr id="80" name="Freeform 219"/>
            <p:cNvSpPr/>
            <p:nvPr/>
          </p:nvSpPr>
          <p:spPr bwMode="auto">
            <a:xfrm>
              <a:off x="4837113" y="2881313"/>
              <a:ext cx="709612" cy="942975"/>
            </a:xfrm>
            <a:custGeom>
              <a:avLst/>
              <a:gdLst/>
              <a:ahLst/>
              <a:cxnLst>
                <a:cxn ang="0">
                  <a:pos x="317" y="594"/>
                </a:cxn>
                <a:cxn ang="0">
                  <a:pos x="0" y="594"/>
                </a:cxn>
                <a:cxn ang="0">
                  <a:pos x="0" y="0"/>
                </a:cxn>
                <a:cxn ang="0">
                  <a:pos x="447" y="0"/>
                </a:cxn>
                <a:cxn ang="0">
                  <a:pos x="447" y="480"/>
                </a:cxn>
                <a:cxn ang="0">
                  <a:pos x="317" y="594"/>
                </a:cxn>
              </a:cxnLst>
              <a:rect l="0" t="0" r="r" b="b"/>
              <a:pathLst>
                <a:path w="447" h="594">
                  <a:moveTo>
                    <a:pt x="317" y="594"/>
                  </a:moveTo>
                  <a:lnTo>
                    <a:pt x="0" y="594"/>
                  </a:lnTo>
                  <a:lnTo>
                    <a:pt x="0" y="0"/>
                  </a:lnTo>
                  <a:lnTo>
                    <a:pt x="447" y="0"/>
                  </a:lnTo>
                  <a:lnTo>
                    <a:pt x="447" y="480"/>
                  </a:lnTo>
                  <a:lnTo>
                    <a:pt x="317" y="59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1" name="Freeform 221"/>
            <p:cNvSpPr/>
            <p:nvPr/>
          </p:nvSpPr>
          <p:spPr bwMode="auto">
            <a:xfrm>
              <a:off x="5324475" y="3643313"/>
              <a:ext cx="222250" cy="184150"/>
            </a:xfrm>
            <a:custGeom>
              <a:avLst/>
              <a:gdLst/>
              <a:ahLst/>
              <a:cxnLst>
                <a:cxn ang="0">
                  <a:pos x="140" y="0"/>
                </a:cxn>
                <a:cxn ang="0">
                  <a:pos x="0" y="0"/>
                </a:cxn>
                <a:cxn ang="0">
                  <a:pos x="0" y="116"/>
                </a:cxn>
                <a:cxn ang="0">
                  <a:pos x="140" y="0"/>
                </a:cxn>
              </a:cxnLst>
              <a:rect l="0" t="0" r="r" b="b"/>
              <a:pathLst>
                <a:path w="140" h="116">
                  <a:moveTo>
                    <a:pt x="140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5" name="Rectangle 222"/>
            <p:cNvSpPr>
              <a:spLocks noChangeArrowheads="1"/>
            </p:cNvSpPr>
            <p:nvPr/>
          </p:nvSpPr>
          <p:spPr bwMode="auto">
            <a:xfrm>
              <a:off x="4945063" y="3008313"/>
              <a:ext cx="503237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6" name="Freeform 223"/>
            <p:cNvSpPr/>
            <p:nvPr/>
          </p:nvSpPr>
          <p:spPr bwMode="auto">
            <a:xfrm>
              <a:off x="4945063" y="3008313"/>
              <a:ext cx="503237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17" y="10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10">
                  <a:moveTo>
                    <a:pt x="0" y="10"/>
                  </a:moveTo>
                  <a:lnTo>
                    <a:pt x="317" y="10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7" name="Rectangle 224"/>
            <p:cNvSpPr>
              <a:spLocks noChangeArrowheads="1"/>
            </p:cNvSpPr>
            <p:nvPr/>
          </p:nvSpPr>
          <p:spPr bwMode="auto">
            <a:xfrm>
              <a:off x="4945063" y="3125788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8" name="Freeform 225"/>
            <p:cNvSpPr/>
            <p:nvPr/>
          </p:nvSpPr>
          <p:spPr bwMode="auto">
            <a:xfrm>
              <a:off x="4945063" y="3125788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89" name="Rectangle 226"/>
            <p:cNvSpPr>
              <a:spLocks noChangeArrowheads="1"/>
            </p:cNvSpPr>
            <p:nvPr/>
          </p:nvSpPr>
          <p:spPr bwMode="auto">
            <a:xfrm>
              <a:off x="4945063" y="3241675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0" name="Freeform 227"/>
            <p:cNvSpPr/>
            <p:nvPr/>
          </p:nvSpPr>
          <p:spPr bwMode="auto">
            <a:xfrm>
              <a:off x="4945063" y="3241675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2" name="Rectangle 228"/>
            <p:cNvSpPr>
              <a:spLocks noChangeArrowheads="1"/>
            </p:cNvSpPr>
            <p:nvPr/>
          </p:nvSpPr>
          <p:spPr bwMode="auto">
            <a:xfrm>
              <a:off x="4945063" y="3362325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3" name="Freeform 229"/>
            <p:cNvSpPr/>
            <p:nvPr/>
          </p:nvSpPr>
          <p:spPr bwMode="auto">
            <a:xfrm>
              <a:off x="4945063" y="3362325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4" name="Rectangle 230"/>
            <p:cNvSpPr>
              <a:spLocks noChangeArrowheads="1"/>
            </p:cNvSpPr>
            <p:nvPr/>
          </p:nvSpPr>
          <p:spPr bwMode="auto">
            <a:xfrm>
              <a:off x="4945063" y="3478213"/>
              <a:ext cx="503237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5" name="Freeform 231"/>
            <p:cNvSpPr/>
            <p:nvPr/>
          </p:nvSpPr>
          <p:spPr bwMode="auto">
            <a:xfrm>
              <a:off x="4945063" y="3478213"/>
              <a:ext cx="503237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17" y="10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10">
                  <a:moveTo>
                    <a:pt x="0" y="10"/>
                  </a:moveTo>
                  <a:lnTo>
                    <a:pt x="317" y="10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6" name="Rectangle 232"/>
            <p:cNvSpPr>
              <a:spLocks noChangeArrowheads="1"/>
            </p:cNvSpPr>
            <p:nvPr/>
          </p:nvSpPr>
          <p:spPr bwMode="auto">
            <a:xfrm>
              <a:off x="4945063" y="3598863"/>
              <a:ext cx="282575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7" name="Freeform 233"/>
            <p:cNvSpPr/>
            <p:nvPr/>
          </p:nvSpPr>
          <p:spPr bwMode="auto">
            <a:xfrm>
              <a:off x="4945063" y="3598863"/>
              <a:ext cx="282575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8" y="9"/>
                </a:cxn>
                <a:cxn ang="0">
                  <a:pos x="178" y="0"/>
                </a:cxn>
                <a:cxn ang="0">
                  <a:pos x="0" y="0"/>
                </a:cxn>
              </a:cxnLst>
              <a:rect l="0" t="0" r="r" b="b"/>
              <a:pathLst>
                <a:path w="178" h="9">
                  <a:moveTo>
                    <a:pt x="0" y="9"/>
                  </a:moveTo>
                  <a:lnTo>
                    <a:pt x="178" y="9"/>
                  </a:lnTo>
                  <a:lnTo>
                    <a:pt x="178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8" name="Rectangle 234"/>
            <p:cNvSpPr>
              <a:spLocks noChangeArrowheads="1"/>
            </p:cNvSpPr>
            <p:nvPr/>
          </p:nvSpPr>
          <p:spPr bwMode="auto">
            <a:xfrm>
              <a:off x="4945063" y="3714750"/>
              <a:ext cx="247650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  <p:sp>
          <p:nvSpPr>
            <p:cNvPr id="99" name="Freeform 235"/>
            <p:cNvSpPr/>
            <p:nvPr/>
          </p:nvSpPr>
          <p:spPr bwMode="auto">
            <a:xfrm>
              <a:off x="4945063" y="3714750"/>
              <a:ext cx="247650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56" y="10"/>
                </a:cxn>
                <a:cxn ang="0">
                  <a:pos x="156" y="0"/>
                </a:cxn>
                <a:cxn ang="0">
                  <a:pos x="0" y="0"/>
                </a:cxn>
              </a:cxnLst>
              <a:rect l="0" t="0" r="r" b="b"/>
              <a:pathLst>
                <a:path w="156" h="10">
                  <a:moveTo>
                    <a:pt x="0" y="10"/>
                  </a:moveTo>
                  <a:lnTo>
                    <a:pt x="156" y="10"/>
                  </a:lnTo>
                  <a:lnTo>
                    <a:pt x="156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/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9"/>
          <p:cNvSpPr/>
          <p:nvPr/>
        </p:nvSpPr>
        <p:spPr bwMode="auto">
          <a:xfrm>
            <a:off x="7845553" y="2193022"/>
            <a:ext cx="2459721" cy="2605329"/>
          </a:xfrm>
          <a:prstGeom prst="rect">
            <a:avLst/>
          </a:prstGeom>
          <a:solidFill>
            <a:schemeClr val="accent1">
              <a:alpha val="75000"/>
            </a:schemeClr>
          </a:solidFill>
          <a:ln w="63500" cmpd="dbl">
            <a:noFill/>
            <a:prstDash val="dash"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 dirty="0"/>
          </a:p>
        </p:txBody>
      </p:sp>
      <p:sp>
        <p:nvSpPr>
          <p:cNvPr id="9" name="TextBox 8"/>
          <p:cNvSpPr txBox="1"/>
          <p:nvPr/>
        </p:nvSpPr>
        <p:spPr>
          <a:xfrm>
            <a:off x="7845553" y="4099717"/>
            <a:ext cx="245972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dirty="0">
                <a:solidFill>
                  <a:schemeClr val="bg2"/>
                </a:solidFill>
                <a:latin typeface="+mj-lt"/>
              </a:rPr>
              <a:t>TEXT HERE</a:t>
            </a:r>
          </a:p>
        </p:txBody>
      </p:sp>
      <p:sp>
        <p:nvSpPr>
          <p:cNvPr id="17" name="Freeform 69"/>
          <p:cNvSpPr>
            <a:spLocks noEditPoints="1"/>
          </p:cNvSpPr>
          <p:nvPr/>
        </p:nvSpPr>
        <p:spPr bwMode="auto">
          <a:xfrm>
            <a:off x="8610549" y="2431827"/>
            <a:ext cx="929729" cy="1544884"/>
          </a:xfrm>
          <a:custGeom>
            <a:avLst/>
            <a:gdLst>
              <a:gd name="T0" fmla="*/ 190 w 200"/>
              <a:gd name="T1" fmla="*/ 10 h 334"/>
              <a:gd name="T2" fmla="*/ 167 w 200"/>
              <a:gd name="T3" fmla="*/ 0 h 334"/>
              <a:gd name="T4" fmla="*/ 33 w 200"/>
              <a:gd name="T5" fmla="*/ 0 h 334"/>
              <a:gd name="T6" fmla="*/ 10 w 200"/>
              <a:gd name="T7" fmla="*/ 10 h 334"/>
              <a:gd name="T8" fmla="*/ 0 w 200"/>
              <a:gd name="T9" fmla="*/ 33 h 334"/>
              <a:gd name="T10" fmla="*/ 0 w 200"/>
              <a:gd name="T11" fmla="*/ 300 h 334"/>
              <a:gd name="T12" fmla="*/ 10 w 200"/>
              <a:gd name="T13" fmla="*/ 324 h 334"/>
              <a:gd name="T14" fmla="*/ 33 w 200"/>
              <a:gd name="T15" fmla="*/ 334 h 334"/>
              <a:gd name="T16" fmla="*/ 167 w 200"/>
              <a:gd name="T17" fmla="*/ 334 h 334"/>
              <a:gd name="T18" fmla="*/ 190 w 200"/>
              <a:gd name="T19" fmla="*/ 324 h 334"/>
              <a:gd name="T20" fmla="*/ 200 w 200"/>
              <a:gd name="T21" fmla="*/ 300 h 334"/>
              <a:gd name="T22" fmla="*/ 200 w 200"/>
              <a:gd name="T23" fmla="*/ 33 h 334"/>
              <a:gd name="T24" fmla="*/ 190 w 200"/>
              <a:gd name="T25" fmla="*/ 10 h 334"/>
              <a:gd name="T26" fmla="*/ 79 w 200"/>
              <a:gd name="T27" fmla="*/ 33 h 334"/>
              <a:gd name="T28" fmla="*/ 121 w 200"/>
              <a:gd name="T29" fmla="*/ 33 h 334"/>
              <a:gd name="T30" fmla="*/ 125 w 200"/>
              <a:gd name="T31" fmla="*/ 38 h 334"/>
              <a:gd name="T32" fmla="*/ 121 w 200"/>
              <a:gd name="T33" fmla="*/ 42 h 334"/>
              <a:gd name="T34" fmla="*/ 79 w 200"/>
              <a:gd name="T35" fmla="*/ 42 h 334"/>
              <a:gd name="T36" fmla="*/ 75 w 200"/>
              <a:gd name="T37" fmla="*/ 38 h 334"/>
              <a:gd name="T38" fmla="*/ 79 w 200"/>
              <a:gd name="T39" fmla="*/ 33 h 334"/>
              <a:gd name="T40" fmla="*/ 115 w 200"/>
              <a:gd name="T41" fmla="*/ 315 h 334"/>
              <a:gd name="T42" fmla="*/ 100 w 200"/>
              <a:gd name="T43" fmla="*/ 321 h 334"/>
              <a:gd name="T44" fmla="*/ 85 w 200"/>
              <a:gd name="T45" fmla="*/ 315 h 334"/>
              <a:gd name="T46" fmla="*/ 79 w 200"/>
              <a:gd name="T47" fmla="*/ 300 h 334"/>
              <a:gd name="T48" fmla="*/ 85 w 200"/>
              <a:gd name="T49" fmla="*/ 286 h 334"/>
              <a:gd name="T50" fmla="*/ 100 w 200"/>
              <a:gd name="T51" fmla="*/ 279 h 334"/>
              <a:gd name="T52" fmla="*/ 115 w 200"/>
              <a:gd name="T53" fmla="*/ 286 h 334"/>
              <a:gd name="T54" fmla="*/ 121 w 200"/>
              <a:gd name="T55" fmla="*/ 300 h 334"/>
              <a:gd name="T56" fmla="*/ 115 w 200"/>
              <a:gd name="T57" fmla="*/ 315 h 334"/>
              <a:gd name="T58" fmla="*/ 175 w 200"/>
              <a:gd name="T59" fmla="*/ 259 h 334"/>
              <a:gd name="T60" fmla="*/ 173 w 200"/>
              <a:gd name="T61" fmla="*/ 264 h 334"/>
              <a:gd name="T62" fmla="*/ 167 w 200"/>
              <a:gd name="T63" fmla="*/ 267 h 334"/>
              <a:gd name="T64" fmla="*/ 33 w 200"/>
              <a:gd name="T65" fmla="*/ 267 h 334"/>
              <a:gd name="T66" fmla="*/ 28 w 200"/>
              <a:gd name="T67" fmla="*/ 264 h 334"/>
              <a:gd name="T68" fmla="*/ 25 w 200"/>
              <a:gd name="T69" fmla="*/ 259 h 334"/>
              <a:gd name="T70" fmla="*/ 25 w 200"/>
              <a:gd name="T71" fmla="*/ 75 h 334"/>
              <a:gd name="T72" fmla="*/ 28 w 200"/>
              <a:gd name="T73" fmla="*/ 69 h 334"/>
              <a:gd name="T74" fmla="*/ 33 w 200"/>
              <a:gd name="T75" fmla="*/ 67 h 334"/>
              <a:gd name="T76" fmla="*/ 167 w 200"/>
              <a:gd name="T77" fmla="*/ 67 h 334"/>
              <a:gd name="T78" fmla="*/ 173 w 200"/>
              <a:gd name="T79" fmla="*/ 69 h 334"/>
              <a:gd name="T80" fmla="*/ 175 w 200"/>
              <a:gd name="T81" fmla="*/ 75 h 334"/>
              <a:gd name="T82" fmla="*/ 175 w 200"/>
              <a:gd name="T83" fmla="*/ 259 h 334"/>
              <a:gd name="T84" fmla="*/ 175 w 200"/>
              <a:gd name="T85" fmla="*/ 259 h 334"/>
              <a:gd name="T86" fmla="*/ 175 w 200"/>
              <a:gd name="T87" fmla="*/ 25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00" h="334">
                <a:moveTo>
                  <a:pt x="190" y="10"/>
                </a:moveTo>
                <a:cubicBezTo>
                  <a:pt x="184" y="3"/>
                  <a:pt x="176" y="0"/>
                  <a:pt x="167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24" y="0"/>
                  <a:pt x="17" y="3"/>
                  <a:pt x="10" y="10"/>
                </a:cubicBezTo>
                <a:cubicBezTo>
                  <a:pt x="3" y="17"/>
                  <a:pt x="0" y="24"/>
                  <a:pt x="0" y="33"/>
                </a:cubicBezTo>
                <a:cubicBezTo>
                  <a:pt x="0" y="300"/>
                  <a:pt x="0" y="300"/>
                  <a:pt x="0" y="300"/>
                </a:cubicBezTo>
                <a:cubicBezTo>
                  <a:pt x="0" y="309"/>
                  <a:pt x="3" y="317"/>
                  <a:pt x="10" y="324"/>
                </a:cubicBezTo>
                <a:cubicBezTo>
                  <a:pt x="17" y="330"/>
                  <a:pt x="24" y="334"/>
                  <a:pt x="33" y="334"/>
                </a:cubicBezTo>
                <a:cubicBezTo>
                  <a:pt x="167" y="334"/>
                  <a:pt x="167" y="334"/>
                  <a:pt x="167" y="334"/>
                </a:cubicBezTo>
                <a:cubicBezTo>
                  <a:pt x="176" y="334"/>
                  <a:pt x="184" y="330"/>
                  <a:pt x="190" y="324"/>
                </a:cubicBezTo>
                <a:cubicBezTo>
                  <a:pt x="197" y="317"/>
                  <a:pt x="200" y="309"/>
                  <a:pt x="200" y="300"/>
                </a:cubicBezTo>
                <a:cubicBezTo>
                  <a:pt x="200" y="33"/>
                  <a:pt x="200" y="33"/>
                  <a:pt x="200" y="33"/>
                </a:cubicBezTo>
                <a:cubicBezTo>
                  <a:pt x="200" y="24"/>
                  <a:pt x="197" y="17"/>
                  <a:pt x="190" y="10"/>
                </a:cubicBezTo>
                <a:close/>
                <a:moveTo>
                  <a:pt x="79" y="33"/>
                </a:moveTo>
                <a:cubicBezTo>
                  <a:pt x="121" y="33"/>
                  <a:pt x="121" y="33"/>
                  <a:pt x="121" y="33"/>
                </a:cubicBezTo>
                <a:cubicBezTo>
                  <a:pt x="124" y="33"/>
                  <a:pt x="125" y="35"/>
                  <a:pt x="125" y="38"/>
                </a:cubicBezTo>
                <a:cubicBezTo>
                  <a:pt x="125" y="40"/>
                  <a:pt x="124" y="42"/>
                  <a:pt x="121" y="42"/>
                </a:cubicBezTo>
                <a:cubicBezTo>
                  <a:pt x="79" y="42"/>
                  <a:pt x="79" y="42"/>
                  <a:pt x="79" y="42"/>
                </a:cubicBezTo>
                <a:cubicBezTo>
                  <a:pt x="76" y="42"/>
                  <a:pt x="75" y="40"/>
                  <a:pt x="75" y="38"/>
                </a:cubicBezTo>
                <a:cubicBezTo>
                  <a:pt x="75" y="35"/>
                  <a:pt x="76" y="33"/>
                  <a:pt x="79" y="33"/>
                </a:cubicBezTo>
                <a:close/>
                <a:moveTo>
                  <a:pt x="115" y="315"/>
                </a:moveTo>
                <a:cubicBezTo>
                  <a:pt x="111" y="319"/>
                  <a:pt x="106" y="321"/>
                  <a:pt x="100" y="321"/>
                </a:cubicBezTo>
                <a:cubicBezTo>
                  <a:pt x="94" y="321"/>
                  <a:pt x="89" y="319"/>
                  <a:pt x="85" y="315"/>
                </a:cubicBezTo>
                <a:cubicBezTo>
                  <a:pt x="81" y="311"/>
                  <a:pt x="79" y="306"/>
                  <a:pt x="79" y="300"/>
                </a:cubicBezTo>
                <a:cubicBezTo>
                  <a:pt x="79" y="295"/>
                  <a:pt x="81" y="290"/>
                  <a:pt x="85" y="286"/>
                </a:cubicBezTo>
                <a:cubicBezTo>
                  <a:pt x="89" y="282"/>
                  <a:pt x="94" y="279"/>
                  <a:pt x="100" y="279"/>
                </a:cubicBezTo>
                <a:cubicBezTo>
                  <a:pt x="106" y="279"/>
                  <a:pt x="111" y="282"/>
                  <a:pt x="115" y="286"/>
                </a:cubicBezTo>
                <a:cubicBezTo>
                  <a:pt x="119" y="290"/>
                  <a:pt x="121" y="295"/>
                  <a:pt x="121" y="300"/>
                </a:cubicBezTo>
                <a:cubicBezTo>
                  <a:pt x="121" y="306"/>
                  <a:pt x="119" y="311"/>
                  <a:pt x="115" y="315"/>
                </a:cubicBezTo>
                <a:close/>
                <a:moveTo>
                  <a:pt x="175" y="259"/>
                </a:moveTo>
                <a:cubicBezTo>
                  <a:pt x="175" y="261"/>
                  <a:pt x="174" y="263"/>
                  <a:pt x="173" y="264"/>
                </a:cubicBezTo>
                <a:cubicBezTo>
                  <a:pt x="171" y="266"/>
                  <a:pt x="169" y="267"/>
                  <a:pt x="167" y="267"/>
                </a:cubicBezTo>
                <a:cubicBezTo>
                  <a:pt x="33" y="267"/>
                  <a:pt x="33" y="267"/>
                  <a:pt x="33" y="267"/>
                </a:cubicBezTo>
                <a:cubicBezTo>
                  <a:pt x="31" y="267"/>
                  <a:pt x="29" y="266"/>
                  <a:pt x="28" y="264"/>
                </a:cubicBezTo>
                <a:cubicBezTo>
                  <a:pt x="26" y="263"/>
                  <a:pt x="25" y="261"/>
                  <a:pt x="25" y="259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3"/>
                  <a:pt x="26" y="71"/>
                  <a:pt x="28" y="69"/>
                </a:cubicBezTo>
                <a:cubicBezTo>
                  <a:pt x="29" y="68"/>
                  <a:pt x="31" y="67"/>
                  <a:pt x="33" y="67"/>
                </a:cubicBezTo>
                <a:cubicBezTo>
                  <a:pt x="167" y="67"/>
                  <a:pt x="167" y="67"/>
                  <a:pt x="167" y="67"/>
                </a:cubicBezTo>
                <a:cubicBezTo>
                  <a:pt x="169" y="67"/>
                  <a:pt x="171" y="68"/>
                  <a:pt x="173" y="69"/>
                </a:cubicBezTo>
                <a:cubicBezTo>
                  <a:pt x="174" y="71"/>
                  <a:pt x="175" y="73"/>
                  <a:pt x="175" y="75"/>
                </a:cubicBezTo>
                <a:lnTo>
                  <a:pt x="175" y="259"/>
                </a:lnTo>
                <a:close/>
                <a:moveTo>
                  <a:pt x="175" y="259"/>
                </a:moveTo>
                <a:cubicBezTo>
                  <a:pt x="175" y="259"/>
                  <a:pt x="175" y="259"/>
                  <a:pt x="175" y="259"/>
                </a:cubicBezTo>
              </a:path>
            </a:pathLst>
          </a:custGeom>
          <a:solidFill>
            <a:schemeClr val="tx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350"/>
          </a:p>
        </p:txBody>
      </p:sp>
      <p:sp>
        <p:nvSpPr>
          <p:cNvPr id="21" name="Text Placeholder 4"/>
          <p:cNvSpPr txBox="1"/>
          <p:nvPr/>
        </p:nvSpPr>
        <p:spPr>
          <a:xfrm>
            <a:off x="2671925" y="5294144"/>
            <a:ext cx="6848153" cy="9743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Lorem ipsum dolor sit amet, consectetuer adipiscing elit. Aenean commodo ligula eget dolor. Aenean massa. Cum sociis natoque penatibus et magnis dis parturient montes, nascetur ridiculus mus. Donec quam </a:t>
            </a:r>
            <a:r>
              <a:rPr lang="en-US" sz="1400" dirty="0" err="1">
                <a:solidFill>
                  <a:schemeClr val="tx1">
                    <a:lumMod val="50000"/>
                  </a:schemeClr>
                </a:solidFill>
                <a:latin typeface="+mn-lt"/>
              </a:rPr>
              <a:t>felis</a:t>
            </a: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.</a:t>
            </a:r>
          </a:p>
        </p:txBody>
      </p:sp>
      <p:pic>
        <p:nvPicPr>
          <p:cNvPr id="4" name="图片占位符 3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89" b="17689"/>
          <a:stretch>
            <a:fillRect/>
          </a:stretch>
        </p:blipFill>
        <p:spPr/>
      </p:pic>
      <p:sp>
        <p:nvSpPr>
          <p:cNvPr id="10" name="Content Placeholder 2"/>
          <p:cNvSpPr txBox="1"/>
          <p:nvPr/>
        </p:nvSpPr>
        <p:spPr>
          <a:xfrm>
            <a:off x="8112224" y="584713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13" name="Title 13"/>
          <p:cNvSpPr txBox="1"/>
          <p:nvPr/>
        </p:nvSpPr>
        <p:spPr>
          <a:xfrm>
            <a:off x="2024225" y="1563173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实验结果</a:t>
            </a:r>
            <a:endParaRPr lang="en-US" sz="1400" b="1" dirty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14" name="Freeform 4"/>
          <p:cNvSpPr/>
          <p:nvPr/>
        </p:nvSpPr>
        <p:spPr bwMode="auto">
          <a:xfrm rot="10800000" flipH="1" flipV="1">
            <a:off x="1837421" y="1535870"/>
            <a:ext cx="360065" cy="360000"/>
          </a:xfrm>
          <a:prstGeom prst="rect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6" name="Freeform 4"/>
          <p:cNvSpPr/>
          <p:nvPr/>
        </p:nvSpPr>
        <p:spPr bwMode="auto">
          <a:xfrm rot="10800000" flipH="1" flipV="1">
            <a:off x="11784632" y="719999"/>
            <a:ext cx="648072" cy="843174"/>
          </a:xfrm>
          <a:prstGeom prst="hexagon">
            <a:avLst>
              <a:gd name="adj" fmla="val 0"/>
              <a:gd name="vf" fmla="val 115470"/>
            </a:avLst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"/>
          <p:cNvSpPr/>
          <p:nvPr/>
        </p:nvSpPr>
        <p:spPr bwMode="auto">
          <a:xfrm rot="10800000" flipH="1" flipV="1">
            <a:off x="4696806" y="311406"/>
            <a:ext cx="6060757" cy="6059641"/>
          </a:xfrm>
          <a:prstGeom prst="ellipse">
            <a:avLst/>
          </a:prstGeom>
          <a:solidFill>
            <a:schemeClr val="accent1">
              <a:alpha val="20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Title 13"/>
          <p:cNvSpPr txBox="1"/>
          <p:nvPr/>
        </p:nvSpPr>
        <p:spPr>
          <a:xfrm>
            <a:off x="1461184" y="2636912"/>
            <a:ext cx="1440144" cy="1384754"/>
          </a:xfrm>
          <a:prstGeom prst="ellipse">
            <a:avLst/>
          </a:prstGeom>
          <a:solidFill>
            <a:schemeClr val="accent1">
              <a:alpha val="82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8800" b="1" dirty="0" smtClean="0">
                <a:solidFill>
                  <a:schemeClr val="bg2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Arial" panose="020B0604020202020204"/>
              </a:rPr>
              <a:t>4</a:t>
            </a:r>
            <a:endParaRPr lang="en-US" sz="8800" b="1" dirty="0">
              <a:solidFill>
                <a:schemeClr val="bg2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20" name="Title 13"/>
          <p:cNvSpPr txBox="1"/>
          <p:nvPr/>
        </p:nvSpPr>
        <p:spPr>
          <a:xfrm>
            <a:off x="4251893" y="1865136"/>
            <a:ext cx="5602212" cy="317851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r" fontAlgn="base"/>
            <a:r>
              <a:rPr lang="zh-CN" altLang="en-US" sz="15000" b="1" dirty="0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结论</a:t>
            </a:r>
            <a:endParaRPr lang="en-US" sz="15000" b="1" dirty="0">
              <a:solidFill>
                <a:schemeClr val="bg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1" name="Freeform 4"/>
          <p:cNvSpPr/>
          <p:nvPr/>
        </p:nvSpPr>
        <p:spPr bwMode="auto">
          <a:xfrm rot="4880796" flipH="1" flipV="1">
            <a:off x="9968690" y="4953508"/>
            <a:ext cx="1054218" cy="1000136"/>
          </a:xfrm>
          <a:prstGeom prst="ellipse">
            <a:avLst/>
          </a:prstGeom>
          <a:noFill/>
          <a:ln w="28575">
            <a:solidFill>
              <a:schemeClr val="bg2">
                <a:lumMod val="75000"/>
                <a:alpha val="15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Freeform 4"/>
          <p:cNvSpPr/>
          <p:nvPr/>
        </p:nvSpPr>
        <p:spPr bwMode="auto">
          <a:xfrm rot="4880796" flipH="1" flipV="1">
            <a:off x="1505750" y="2768894"/>
            <a:ext cx="1445141" cy="1371004"/>
          </a:xfrm>
          <a:prstGeom prst="ellipse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4" name="Freeform 4"/>
          <p:cNvSpPr/>
          <p:nvPr/>
        </p:nvSpPr>
        <p:spPr bwMode="auto">
          <a:xfrm rot="4880796" flipH="1" flipV="1">
            <a:off x="1230376" y="1131009"/>
            <a:ext cx="580174" cy="550411"/>
          </a:xfrm>
          <a:prstGeom prst="ellipse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0" name="Freeform 207"/>
          <p:cNvSpPr/>
          <p:nvPr/>
        </p:nvSpPr>
        <p:spPr bwMode="auto">
          <a:xfrm rot="5400000">
            <a:off x="10352267" y="5369490"/>
            <a:ext cx="287064" cy="292982"/>
          </a:xfrm>
          <a:custGeom>
            <a:avLst/>
            <a:gdLst>
              <a:gd name="T0" fmla="*/ 0 w 41"/>
              <a:gd name="T1" fmla="*/ 41 h 42"/>
              <a:gd name="T2" fmla="*/ 0 w 41"/>
              <a:gd name="T3" fmla="*/ 2 h 42"/>
              <a:gd name="T4" fmla="*/ 1 w 41"/>
              <a:gd name="T5" fmla="*/ 1 h 42"/>
              <a:gd name="T6" fmla="*/ 20 w 41"/>
              <a:gd name="T7" fmla="*/ 20 h 42"/>
              <a:gd name="T8" fmla="*/ 21 w 41"/>
              <a:gd name="T9" fmla="*/ 21 h 42"/>
              <a:gd name="T10" fmla="*/ 21 w 41"/>
              <a:gd name="T11" fmla="*/ 2 h 42"/>
              <a:gd name="T12" fmla="*/ 22 w 41"/>
              <a:gd name="T13" fmla="*/ 1 h 42"/>
              <a:gd name="T14" fmla="*/ 41 w 41"/>
              <a:gd name="T15" fmla="*/ 20 h 42"/>
              <a:gd name="T16" fmla="*/ 41 w 41"/>
              <a:gd name="T17" fmla="*/ 22 h 42"/>
              <a:gd name="T18" fmla="*/ 22 w 41"/>
              <a:gd name="T19" fmla="*/ 41 h 42"/>
              <a:gd name="T20" fmla="*/ 21 w 41"/>
              <a:gd name="T21" fmla="*/ 41 h 42"/>
              <a:gd name="T22" fmla="*/ 21 w 41"/>
              <a:gd name="T23" fmla="*/ 22 h 42"/>
              <a:gd name="T24" fmla="*/ 20 w 41"/>
              <a:gd name="T25" fmla="*/ 22 h 42"/>
              <a:gd name="T26" fmla="*/ 1 w 41"/>
              <a:gd name="T27" fmla="*/ 41 h 42"/>
              <a:gd name="T28" fmla="*/ 0 w 41"/>
              <a:gd name="T29" fmla="*/ 4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1" h="42">
                <a:moveTo>
                  <a:pt x="0" y="41"/>
                </a:move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1" y="21"/>
                </a:cubicBezTo>
                <a:cubicBezTo>
                  <a:pt x="21" y="2"/>
                  <a:pt x="21" y="2"/>
                  <a:pt x="21" y="2"/>
                </a:cubicBezTo>
                <a:cubicBezTo>
                  <a:pt x="21" y="1"/>
                  <a:pt x="21" y="0"/>
                  <a:pt x="22" y="1"/>
                </a:cubicBezTo>
                <a:cubicBezTo>
                  <a:pt x="41" y="20"/>
                  <a:pt x="41" y="20"/>
                  <a:pt x="41" y="20"/>
                </a:cubicBezTo>
                <a:cubicBezTo>
                  <a:pt x="41" y="21"/>
                  <a:pt x="41" y="22"/>
                  <a:pt x="41" y="22"/>
                </a:cubicBezTo>
                <a:cubicBezTo>
                  <a:pt x="22" y="41"/>
                  <a:pt x="22" y="41"/>
                  <a:pt x="22" y="41"/>
                </a:cubicBezTo>
                <a:cubicBezTo>
                  <a:pt x="21" y="42"/>
                  <a:pt x="21" y="42"/>
                  <a:pt x="21" y="41"/>
                </a:cubicBezTo>
                <a:cubicBezTo>
                  <a:pt x="21" y="22"/>
                  <a:pt x="21" y="22"/>
                  <a:pt x="21" y="22"/>
                </a:cubicBezTo>
                <a:cubicBezTo>
                  <a:pt x="20" y="22"/>
                  <a:pt x="20" y="22"/>
                  <a:pt x="20" y="22"/>
                </a:cubicBezTo>
                <a:cubicBezTo>
                  <a:pt x="1" y="41"/>
                  <a:pt x="1" y="41"/>
                  <a:pt x="1" y="41"/>
                </a:cubicBezTo>
                <a:cubicBezTo>
                  <a:pt x="1" y="42"/>
                  <a:pt x="0" y="42"/>
                  <a:pt x="0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2" name="Content Placeholder 2"/>
          <p:cNvSpPr txBox="1"/>
          <p:nvPr/>
        </p:nvSpPr>
        <p:spPr>
          <a:xfrm>
            <a:off x="1299408" y="1022645"/>
            <a:ext cx="2160240" cy="7671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000" dirty="0" smtClean="0">
                <a:solidFill>
                  <a:schemeClr val="bg2">
                    <a:alpha val="65000"/>
                  </a:schemeClr>
                </a:solidFill>
                <a:latin typeface="Aharoni" panose="02010803020104030203" pitchFamily="2" charset="-79"/>
                <a:ea typeface="Dotum" panose="020B0600000101010101" pitchFamily="34" charset="-127"/>
                <a:cs typeface="Aharoni" panose="02010803020104030203" pitchFamily="2" charset="-79"/>
                <a:sym typeface="Arial" panose="020B0604020202020204"/>
              </a:rPr>
              <a:t>PART FOUR</a:t>
            </a:r>
            <a:endParaRPr lang="en-US" sz="2000" dirty="0">
              <a:solidFill>
                <a:schemeClr val="bg2">
                  <a:alpha val="65000"/>
                </a:schemeClr>
              </a:solidFill>
              <a:latin typeface="Aharoni" panose="02010803020104030203" pitchFamily="2" charset="-79"/>
              <a:ea typeface="Dotum" panose="020B0600000101010101" pitchFamily="34" charset="-127"/>
              <a:cs typeface="Aharoni" panose="02010803020104030203" pitchFamily="2" charset="-79"/>
              <a:sym typeface="Arial" panose="020B0604020202020204"/>
            </a:endParaRPr>
          </a:p>
        </p:txBody>
      </p:sp>
      <p:sp>
        <p:nvSpPr>
          <p:cNvPr id="15" name="任意多边形 14"/>
          <p:cNvSpPr/>
          <p:nvPr/>
        </p:nvSpPr>
        <p:spPr>
          <a:xfrm flipV="1">
            <a:off x="-1" y="5627385"/>
            <a:ext cx="12594771" cy="958526"/>
          </a:xfrm>
          <a:custGeom>
            <a:avLst/>
            <a:gdLst>
              <a:gd name="connsiteX0" fmla="*/ 0 w 12072257"/>
              <a:gd name="connsiteY0" fmla="*/ 0 h 958526"/>
              <a:gd name="connsiteX1" fmla="*/ 2144486 w 12072257"/>
              <a:gd name="connsiteY1" fmla="*/ 957943 h 958526"/>
              <a:gd name="connsiteX2" fmla="*/ 6596743 w 12072257"/>
              <a:gd name="connsiteY2" fmla="*/ 152400 h 958526"/>
              <a:gd name="connsiteX3" fmla="*/ 11049000 w 12072257"/>
              <a:gd name="connsiteY3" fmla="*/ 849086 h 958526"/>
              <a:gd name="connsiteX4" fmla="*/ 11941629 w 12072257"/>
              <a:gd name="connsiteY4" fmla="*/ 892629 h 958526"/>
              <a:gd name="connsiteX5" fmla="*/ 11930743 w 12072257"/>
              <a:gd name="connsiteY5" fmla="*/ 892629 h 958526"/>
              <a:gd name="connsiteX6" fmla="*/ 12072257 w 12072257"/>
              <a:gd name="connsiteY6" fmla="*/ 859972 h 9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2257" h="958526">
                <a:moveTo>
                  <a:pt x="0" y="0"/>
                </a:moveTo>
                <a:cubicBezTo>
                  <a:pt x="522514" y="466271"/>
                  <a:pt x="1045029" y="932543"/>
                  <a:pt x="2144486" y="957943"/>
                </a:cubicBezTo>
                <a:cubicBezTo>
                  <a:pt x="3243943" y="983343"/>
                  <a:pt x="5112657" y="170543"/>
                  <a:pt x="6596743" y="152400"/>
                </a:cubicBezTo>
                <a:cubicBezTo>
                  <a:pt x="8080829" y="134257"/>
                  <a:pt x="10158186" y="725715"/>
                  <a:pt x="11049000" y="849086"/>
                </a:cubicBezTo>
                <a:cubicBezTo>
                  <a:pt x="11939814" y="972457"/>
                  <a:pt x="11794672" y="885372"/>
                  <a:pt x="11941629" y="892629"/>
                </a:cubicBezTo>
                <a:cubicBezTo>
                  <a:pt x="12088586" y="899886"/>
                  <a:pt x="11908972" y="898072"/>
                  <a:pt x="11930743" y="892629"/>
                </a:cubicBezTo>
                <a:cubicBezTo>
                  <a:pt x="11952514" y="887186"/>
                  <a:pt x="12012385" y="873579"/>
                  <a:pt x="12072257" y="859972"/>
                </a:cubicBezTo>
              </a:path>
            </a:pathLst>
          </a:cu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schemeClr val="tx1"/>
              </a:solidFill>
              <a:cs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任意多边形 22"/>
          <p:cNvSpPr/>
          <p:nvPr/>
        </p:nvSpPr>
        <p:spPr bwMode="auto">
          <a:xfrm rot="10800000" flipH="1" flipV="1">
            <a:off x="1628451" y="-243409"/>
            <a:ext cx="8250403" cy="3054901"/>
          </a:xfrm>
          <a:custGeom>
            <a:avLst/>
            <a:gdLst>
              <a:gd name="connsiteX0" fmla="*/ 4114688 w 8250403"/>
              <a:gd name="connsiteY0" fmla="*/ 0 h 3270032"/>
              <a:gd name="connsiteX1" fmla="*/ 8179013 w 8250403"/>
              <a:gd name="connsiteY1" fmla="*/ 2992197 h 3270032"/>
              <a:gd name="connsiteX2" fmla="*/ 8250403 w 8250403"/>
              <a:gd name="connsiteY2" fmla="*/ 3270032 h 3270032"/>
              <a:gd name="connsiteX3" fmla="*/ 8125921 w 8250403"/>
              <a:gd name="connsiteY3" fmla="*/ 3238025 h 3270032"/>
              <a:gd name="connsiteX4" fmla="*/ 7631653 w 8250403"/>
              <a:gd name="connsiteY4" fmla="*/ 3188198 h 3270032"/>
              <a:gd name="connsiteX5" fmla="*/ 0 w 8250403"/>
              <a:gd name="connsiteY5" fmla="*/ 3188198 h 3270032"/>
              <a:gd name="connsiteX6" fmla="*/ 50363 w 8250403"/>
              <a:gd name="connsiteY6" fmla="*/ 2992197 h 3270032"/>
              <a:gd name="connsiteX7" fmla="*/ 4114688 w 8250403"/>
              <a:gd name="connsiteY7" fmla="*/ 0 h 3270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50403" h="3270032">
                <a:moveTo>
                  <a:pt x="4114688" y="0"/>
                </a:moveTo>
                <a:cubicBezTo>
                  <a:pt x="6024332" y="0"/>
                  <a:pt x="7640199" y="1258670"/>
                  <a:pt x="8179013" y="2992197"/>
                </a:cubicBezTo>
                <a:lnTo>
                  <a:pt x="8250403" y="3270032"/>
                </a:lnTo>
                <a:lnTo>
                  <a:pt x="8125921" y="3238025"/>
                </a:lnTo>
                <a:cubicBezTo>
                  <a:pt x="7966268" y="3205355"/>
                  <a:pt x="7800964" y="3188198"/>
                  <a:pt x="7631653" y="3188198"/>
                </a:cubicBezTo>
                <a:lnTo>
                  <a:pt x="0" y="3188198"/>
                </a:lnTo>
                <a:lnTo>
                  <a:pt x="50363" y="2992197"/>
                </a:lnTo>
                <a:cubicBezTo>
                  <a:pt x="589177" y="1258670"/>
                  <a:pt x="2205044" y="0"/>
                  <a:pt x="4114688" y="0"/>
                </a:cubicBezTo>
                <a:close/>
              </a:path>
            </a:pathLst>
          </a:cu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9" name="Freeform 4"/>
          <p:cNvSpPr/>
          <p:nvPr/>
        </p:nvSpPr>
        <p:spPr bwMode="auto">
          <a:xfrm rot="10800000" flipH="1" flipV="1">
            <a:off x="1228770" y="2405474"/>
            <a:ext cx="872579" cy="873176"/>
          </a:xfrm>
          <a:prstGeom prst="ellipse">
            <a:avLst/>
          </a:prstGeom>
          <a:solidFill>
            <a:srgbClr val="F2F2F2"/>
          </a:solidFill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Freeform 4"/>
          <p:cNvSpPr/>
          <p:nvPr/>
        </p:nvSpPr>
        <p:spPr bwMode="auto">
          <a:xfrm rot="10800000" flipH="1" flipV="1">
            <a:off x="3466600" y="811456"/>
            <a:ext cx="4968552" cy="4971951"/>
          </a:xfrm>
          <a:prstGeom prst="ellipse">
            <a:avLst/>
          </a:prstGeom>
          <a:solidFill>
            <a:srgbClr val="F2F2F2"/>
          </a:solidFill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Freeform 4"/>
          <p:cNvSpPr/>
          <p:nvPr/>
        </p:nvSpPr>
        <p:spPr bwMode="auto">
          <a:xfrm rot="10800000" flipH="1" flipV="1">
            <a:off x="9621476" y="2424256"/>
            <a:ext cx="872579" cy="873176"/>
          </a:xfrm>
          <a:prstGeom prst="ellipse">
            <a:avLst/>
          </a:prstGeom>
          <a:solidFill>
            <a:srgbClr val="F2F2F2"/>
          </a:solidFill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圆角矩形 25"/>
          <p:cNvSpPr/>
          <p:nvPr/>
        </p:nvSpPr>
        <p:spPr>
          <a:xfrm>
            <a:off x="8173670" y="5383241"/>
            <a:ext cx="3178914" cy="925318"/>
          </a:xfrm>
          <a:prstGeom prst="roundRect">
            <a:avLst>
              <a:gd name="adj" fmla="val 4453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1" name="Oval 6"/>
          <p:cNvSpPr/>
          <p:nvPr/>
        </p:nvSpPr>
        <p:spPr>
          <a:xfrm>
            <a:off x="3591968" y="954215"/>
            <a:ext cx="4730999" cy="473929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4" name="Content Placeholder 2"/>
          <p:cNvSpPr txBox="1"/>
          <p:nvPr/>
        </p:nvSpPr>
        <p:spPr>
          <a:xfrm>
            <a:off x="4049255" y="2554149"/>
            <a:ext cx="3816424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0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主题</a:t>
            </a:r>
            <a:r>
              <a:rPr lang="zh-CN" altLang="en-US" sz="40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句简单句</a:t>
            </a:r>
            <a:endParaRPr lang="en-US" altLang="zh-CN" sz="4000" b="1" dirty="0" smtClean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  <a:p>
            <a:pPr marL="0" indent="0" algn="ctr">
              <a:buNone/>
            </a:pPr>
            <a:r>
              <a:rPr lang="zh-CN" altLang="en-US" sz="40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呈现本页的</a:t>
            </a:r>
            <a:r>
              <a:rPr lang="zh-CN" altLang="en-US" sz="40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40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1362034" y="2532858"/>
            <a:ext cx="632562" cy="633671"/>
            <a:chOff x="2080387" y="2639060"/>
            <a:chExt cx="632562" cy="633671"/>
          </a:xfrm>
        </p:grpSpPr>
        <p:sp>
          <p:nvSpPr>
            <p:cNvPr id="7" name="Oval 6"/>
            <p:cNvSpPr/>
            <p:nvPr/>
          </p:nvSpPr>
          <p:spPr>
            <a:xfrm>
              <a:off x="2080387" y="2639060"/>
              <a:ext cx="632562" cy="63367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36" name="Freeform 35"/>
            <p:cNvSpPr/>
            <p:nvPr/>
          </p:nvSpPr>
          <p:spPr bwMode="auto">
            <a:xfrm>
              <a:off x="2260312" y="2817080"/>
              <a:ext cx="252541" cy="262368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sp>
        <p:nvSpPr>
          <p:cNvPr id="62" name="Content Placeholder 2"/>
          <p:cNvSpPr txBox="1"/>
          <p:nvPr/>
        </p:nvSpPr>
        <p:spPr>
          <a:xfrm>
            <a:off x="1228770" y="3573016"/>
            <a:ext cx="1131458" cy="15864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sit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met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,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nsectetur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dipiscing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it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</a:p>
        </p:txBody>
      </p:sp>
      <p:grpSp>
        <p:nvGrpSpPr>
          <p:cNvPr id="50" name="组合 49"/>
          <p:cNvGrpSpPr/>
          <p:nvPr/>
        </p:nvGrpSpPr>
        <p:grpSpPr>
          <a:xfrm>
            <a:off x="607562" y="729110"/>
            <a:ext cx="1295400" cy="376927"/>
            <a:chOff x="623392" y="1484784"/>
            <a:chExt cx="1295400" cy="376927"/>
          </a:xfrm>
        </p:grpSpPr>
        <p:sp>
          <p:nvSpPr>
            <p:cNvPr id="51" name="圆角矩形 50"/>
            <p:cNvSpPr/>
            <p:nvPr/>
          </p:nvSpPr>
          <p:spPr>
            <a:xfrm>
              <a:off x="832649" y="1484784"/>
              <a:ext cx="876886" cy="356832"/>
            </a:xfrm>
            <a:prstGeom prst="roundRect">
              <a:avLst>
                <a:gd name="adj" fmla="val 44535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52" name="Title 13"/>
            <p:cNvSpPr txBox="1"/>
            <p:nvPr/>
          </p:nvSpPr>
          <p:spPr>
            <a:xfrm>
              <a:off x="623392" y="1493411"/>
              <a:ext cx="1295400" cy="36830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zh-CN" altLang="en-US" sz="1400" dirty="0" smtClean="0">
                  <a:solidFill>
                    <a:schemeClr val="bg1"/>
                  </a:solidFill>
                  <a:latin typeface="幼圆" panose="02010509060101010101" pitchFamily="49" charset="-122"/>
                  <a:ea typeface="幼圆" panose="02010509060101010101" pitchFamily="49" charset="-122"/>
                  <a:sym typeface="Arial" panose="020B0604020202020204"/>
                </a:rPr>
                <a:t>结论</a:t>
              </a:r>
              <a:endParaRPr lang="en-US" sz="1400" dirty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  <a:sym typeface="Arial" panose="020B0604020202020204"/>
              </a:endParaRPr>
            </a:p>
          </p:txBody>
        </p:sp>
      </p:grpSp>
      <p:grpSp>
        <p:nvGrpSpPr>
          <p:cNvPr id="88" name="Group 1"/>
          <p:cNvGrpSpPr/>
          <p:nvPr/>
        </p:nvGrpSpPr>
        <p:grpSpPr>
          <a:xfrm>
            <a:off x="9744637" y="2554149"/>
            <a:ext cx="632562" cy="633671"/>
            <a:chOff x="4731584" y="1650175"/>
            <a:chExt cx="475253" cy="475253"/>
          </a:xfrm>
        </p:grpSpPr>
        <p:sp>
          <p:nvSpPr>
            <p:cNvPr id="89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sp>
        <p:nvSpPr>
          <p:cNvPr id="92" name="Content Placeholder 2"/>
          <p:cNvSpPr txBox="1"/>
          <p:nvPr/>
        </p:nvSpPr>
        <p:spPr>
          <a:xfrm>
            <a:off x="9621476" y="3573016"/>
            <a:ext cx="1131458" cy="15864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sit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met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,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nsectetur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dipiscing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it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</a:p>
        </p:txBody>
      </p:sp>
      <p:sp>
        <p:nvSpPr>
          <p:cNvPr id="28" name="Text Placeholder 4"/>
          <p:cNvSpPr txBox="1"/>
          <p:nvPr/>
        </p:nvSpPr>
        <p:spPr>
          <a:xfrm>
            <a:off x="8472264" y="5457024"/>
            <a:ext cx="2789143" cy="8515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dirty="0">
                <a:solidFill>
                  <a:schemeClr val="bg2"/>
                </a:solidFill>
                <a:latin typeface="+mn-lt"/>
              </a:rPr>
              <a:t>Lorem ipsum dolor sit amet, consectetuer adipiscing elit. Aenean commodo ligula eget dolor.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1284446" y="2541983"/>
            <a:ext cx="632562" cy="633671"/>
            <a:chOff x="2080387" y="2639060"/>
            <a:chExt cx="632562" cy="633671"/>
          </a:xfrm>
        </p:grpSpPr>
        <p:sp>
          <p:nvSpPr>
            <p:cNvPr id="7" name="Oval 6"/>
            <p:cNvSpPr/>
            <p:nvPr/>
          </p:nvSpPr>
          <p:spPr>
            <a:xfrm>
              <a:off x="2080387" y="2639060"/>
              <a:ext cx="632562" cy="63367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36" name="Freeform 35"/>
            <p:cNvSpPr/>
            <p:nvPr/>
          </p:nvSpPr>
          <p:spPr bwMode="auto">
            <a:xfrm>
              <a:off x="2260312" y="2817080"/>
              <a:ext cx="252541" cy="262368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626696" y="3084707"/>
            <a:ext cx="632562" cy="633671"/>
            <a:chOff x="4731584" y="1650175"/>
            <a:chExt cx="475253" cy="475253"/>
          </a:xfrm>
        </p:grpSpPr>
        <p:sp>
          <p:nvSpPr>
            <p:cNvPr id="29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37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grpSp>
        <p:nvGrpSpPr>
          <p:cNvPr id="54" name="Group 1"/>
          <p:cNvGrpSpPr/>
          <p:nvPr/>
        </p:nvGrpSpPr>
        <p:grpSpPr>
          <a:xfrm>
            <a:off x="6150891" y="3208625"/>
            <a:ext cx="632562" cy="633671"/>
            <a:chOff x="4731584" y="1650175"/>
            <a:chExt cx="475253" cy="475253"/>
          </a:xfrm>
        </p:grpSpPr>
        <p:sp>
          <p:nvSpPr>
            <p:cNvPr id="55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56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grpSp>
        <p:nvGrpSpPr>
          <p:cNvPr id="88" name="Group 1"/>
          <p:cNvGrpSpPr/>
          <p:nvPr/>
        </p:nvGrpSpPr>
        <p:grpSpPr>
          <a:xfrm>
            <a:off x="8467506" y="2565519"/>
            <a:ext cx="632562" cy="633671"/>
            <a:chOff x="4731584" y="1650175"/>
            <a:chExt cx="475253" cy="475253"/>
          </a:xfrm>
        </p:grpSpPr>
        <p:sp>
          <p:nvSpPr>
            <p:cNvPr id="89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sp>
        <p:nvSpPr>
          <p:cNvPr id="91" name="Oval 6"/>
          <p:cNvSpPr/>
          <p:nvPr/>
        </p:nvSpPr>
        <p:spPr>
          <a:xfrm>
            <a:off x="3841259" y="-894881"/>
            <a:ext cx="4239001" cy="314604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2" name="Title 13"/>
          <p:cNvSpPr txBox="1"/>
          <p:nvPr/>
        </p:nvSpPr>
        <p:spPr>
          <a:xfrm>
            <a:off x="4419244" y="572006"/>
            <a:ext cx="3286466" cy="7096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5400" b="1" dirty="0" smtClean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参考文献</a:t>
            </a:r>
            <a:endParaRPr lang="en-US" sz="5400" b="1" dirty="0">
              <a:solidFill>
                <a:schemeClr val="bg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4" name="Content Placeholder 2"/>
          <p:cNvSpPr txBox="1"/>
          <p:nvPr/>
        </p:nvSpPr>
        <p:spPr>
          <a:xfrm>
            <a:off x="3377248" y="4229876"/>
            <a:ext cx="1131458" cy="15864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</a:p>
        </p:txBody>
      </p:sp>
      <p:sp>
        <p:nvSpPr>
          <p:cNvPr id="25" name="Title 13"/>
          <p:cNvSpPr txBox="1"/>
          <p:nvPr/>
        </p:nvSpPr>
        <p:spPr>
          <a:xfrm>
            <a:off x="3329216" y="3866556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几何原理</a:t>
            </a:r>
            <a:endParaRPr lang="en-US" sz="2000" dirty="0">
              <a:solidFill>
                <a:schemeClr val="tx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6" name="Content Placeholder 2"/>
          <p:cNvSpPr txBox="1"/>
          <p:nvPr/>
        </p:nvSpPr>
        <p:spPr>
          <a:xfrm>
            <a:off x="6036152" y="4424384"/>
            <a:ext cx="1131458" cy="15864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</a:p>
        </p:txBody>
      </p:sp>
      <p:sp>
        <p:nvSpPr>
          <p:cNvPr id="27" name="Title 13"/>
          <p:cNvSpPr txBox="1"/>
          <p:nvPr/>
        </p:nvSpPr>
        <p:spPr>
          <a:xfrm>
            <a:off x="5960760" y="4028537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几何原理</a:t>
            </a:r>
            <a:endParaRPr lang="en-US" sz="2000" dirty="0">
              <a:solidFill>
                <a:schemeClr val="tx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grpSp>
        <p:nvGrpSpPr>
          <p:cNvPr id="28" name="Group 1"/>
          <p:cNvGrpSpPr/>
          <p:nvPr/>
        </p:nvGrpSpPr>
        <p:grpSpPr>
          <a:xfrm>
            <a:off x="10491741" y="2832333"/>
            <a:ext cx="632562" cy="633671"/>
            <a:chOff x="4731584" y="1650175"/>
            <a:chExt cx="475253" cy="475253"/>
          </a:xfrm>
        </p:grpSpPr>
        <p:sp>
          <p:nvSpPr>
            <p:cNvPr id="30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31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/>
            </a:p>
          </p:txBody>
        </p:sp>
      </p:grpSp>
      <p:sp>
        <p:nvSpPr>
          <p:cNvPr id="33" name="任意多边形 32"/>
          <p:cNvSpPr/>
          <p:nvPr/>
        </p:nvSpPr>
        <p:spPr>
          <a:xfrm flipV="1">
            <a:off x="-1" y="5627385"/>
            <a:ext cx="12594771" cy="958526"/>
          </a:xfrm>
          <a:custGeom>
            <a:avLst/>
            <a:gdLst>
              <a:gd name="connsiteX0" fmla="*/ 0 w 12072257"/>
              <a:gd name="connsiteY0" fmla="*/ 0 h 958526"/>
              <a:gd name="connsiteX1" fmla="*/ 2144486 w 12072257"/>
              <a:gd name="connsiteY1" fmla="*/ 957943 h 958526"/>
              <a:gd name="connsiteX2" fmla="*/ 6596743 w 12072257"/>
              <a:gd name="connsiteY2" fmla="*/ 152400 h 958526"/>
              <a:gd name="connsiteX3" fmla="*/ 11049000 w 12072257"/>
              <a:gd name="connsiteY3" fmla="*/ 849086 h 958526"/>
              <a:gd name="connsiteX4" fmla="*/ 11941629 w 12072257"/>
              <a:gd name="connsiteY4" fmla="*/ 892629 h 958526"/>
              <a:gd name="connsiteX5" fmla="*/ 11930743 w 12072257"/>
              <a:gd name="connsiteY5" fmla="*/ 892629 h 958526"/>
              <a:gd name="connsiteX6" fmla="*/ 12072257 w 12072257"/>
              <a:gd name="connsiteY6" fmla="*/ 859972 h 9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2257" h="958526">
                <a:moveTo>
                  <a:pt x="0" y="0"/>
                </a:moveTo>
                <a:cubicBezTo>
                  <a:pt x="522514" y="466271"/>
                  <a:pt x="1045029" y="932543"/>
                  <a:pt x="2144486" y="957943"/>
                </a:cubicBezTo>
                <a:cubicBezTo>
                  <a:pt x="3243943" y="983343"/>
                  <a:pt x="5112657" y="170543"/>
                  <a:pt x="6596743" y="152400"/>
                </a:cubicBezTo>
                <a:cubicBezTo>
                  <a:pt x="8080829" y="134257"/>
                  <a:pt x="10158186" y="725715"/>
                  <a:pt x="11049000" y="849086"/>
                </a:cubicBezTo>
                <a:cubicBezTo>
                  <a:pt x="11939814" y="972457"/>
                  <a:pt x="11794672" y="885372"/>
                  <a:pt x="11941629" y="892629"/>
                </a:cubicBezTo>
                <a:cubicBezTo>
                  <a:pt x="12088586" y="899886"/>
                  <a:pt x="11908972" y="898072"/>
                  <a:pt x="11930743" y="892629"/>
                </a:cubicBezTo>
                <a:cubicBezTo>
                  <a:pt x="11952514" y="887186"/>
                  <a:pt x="12012385" y="873579"/>
                  <a:pt x="12072257" y="859972"/>
                </a:cubicBezTo>
              </a:path>
            </a:pathLst>
          </a:custGeom>
          <a:noFill/>
          <a:ln>
            <a:solidFill>
              <a:schemeClr val="tx2">
                <a:lumMod val="40000"/>
                <a:lumOff val="60000"/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任意多边形 5"/>
          <p:cNvSpPr/>
          <p:nvPr/>
        </p:nvSpPr>
        <p:spPr>
          <a:xfrm>
            <a:off x="2123266" y="5552982"/>
            <a:ext cx="10427964" cy="1305018"/>
          </a:xfrm>
          <a:custGeom>
            <a:avLst/>
            <a:gdLst>
              <a:gd name="connsiteX0" fmla="*/ 0 w 10330543"/>
              <a:gd name="connsiteY0" fmla="*/ 1272361 h 1272361"/>
              <a:gd name="connsiteX1" fmla="*/ 1774371 w 10330543"/>
              <a:gd name="connsiteY1" fmla="*/ 989332 h 1272361"/>
              <a:gd name="connsiteX2" fmla="*/ 3559628 w 10330543"/>
              <a:gd name="connsiteY2" fmla="*/ 412389 h 1272361"/>
              <a:gd name="connsiteX3" fmla="*/ 6945085 w 10330543"/>
              <a:gd name="connsiteY3" fmla="*/ 891361 h 1272361"/>
              <a:gd name="connsiteX4" fmla="*/ 9078685 w 10330543"/>
              <a:gd name="connsiteY4" fmla="*/ 42275 h 1272361"/>
              <a:gd name="connsiteX5" fmla="*/ 10330543 w 10330543"/>
              <a:gd name="connsiteY5" fmla="*/ 205561 h 1272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30543" h="1272361">
                <a:moveTo>
                  <a:pt x="0" y="1272361"/>
                </a:moveTo>
                <a:cubicBezTo>
                  <a:pt x="590550" y="1202511"/>
                  <a:pt x="1181100" y="1132661"/>
                  <a:pt x="1774371" y="989332"/>
                </a:cubicBezTo>
                <a:cubicBezTo>
                  <a:pt x="2367642" y="846003"/>
                  <a:pt x="2697842" y="428717"/>
                  <a:pt x="3559628" y="412389"/>
                </a:cubicBezTo>
                <a:cubicBezTo>
                  <a:pt x="4421414" y="396060"/>
                  <a:pt x="6025242" y="953047"/>
                  <a:pt x="6945085" y="891361"/>
                </a:cubicBezTo>
                <a:cubicBezTo>
                  <a:pt x="7864928" y="829675"/>
                  <a:pt x="8514442" y="156575"/>
                  <a:pt x="9078685" y="42275"/>
                </a:cubicBezTo>
                <a:cubicBezTo>
                  <a:pt x="9642928" y="-72025"/>
                  <a:pt x="9986735" y="66768"/>
                  <a:pt x="10330543" y="205561"/>
                </a:cubicBezTo>
              </a:path>
            </a:pathLst>
          </a:custGeom>
          <a:noFill/>
          <a:ln>
            <a:solidFill>
              <a:schemeClr val="tx2">
                <a:lumMod val="40000"/>
                <a:lumOff val="60000"/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4" name="Content Placeholder 2"/>
          <p:cNvSpPr txBox="1"/>
          <p:nvPr/>
        </p:nvSpPr>
        <p:spPr>
          <a:xfrm>
            <a:off x="1095071" y="3822120"/>
            <a:ext cx="1131458" cy="15864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</a:p>
        </p:txBody>
      </p:sp>
      <p:sp>
        <p:nvSpPr>
          <p:cNvPr id="35" name="Title 13"/>
          <p:cNvSpPr txBox="1"/>
          <p:nvPr/>
        </p:nvSpPr>
        <p:spPr>
          <a:xfrm>
            <a:off x="1047039" y="3458800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几何原理</a:t>
            </a:r>
            <a:endParaRPr lang="en-US" sz="2000" dirty="0">
              <a:solidFill>
                <a:schemeClr val="tx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8" name="Content Placeholder 2"/>
          <p:cNvSpPr txBox="1"/>
          <p:nvPr/>
        </p:nvSpPr>
        <p:spPr>
          <a:xfrm>
            <a:off x="8251981" y="3767162"/>
            <a:ext cx="1131458" cy="15864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</a:p>
        </p:txBody>
      </p:sp>
      <p:sp>
        <p:nvSpPr>
          <p:cNvPr id="39" name="Title 13"/>
          <p:cNvSpPr txBox="1"/>
          <p:nvPr/>
        </p:nvSpPr>
        <p:spPr>
          <a:xfrm>
            <a:off x="8203949" y="3403842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几何原理</a:t>
            </a:r>
            <a:endParaRPr lang="en-US" sz="2000" dirty="0">
              <a:solidFill>
                <a:schemeClr val="tx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40" name="Content Placeholder 2"/>
          <p:cNvSpPr txBox="1"/>
          <p:nvPr/>
        </p:nvSpPr>
        <p:spPr>
          <a:xfrm>
            <a:off x="10310527" y="4028537"/>
            <a:ext cx="1131458" cy="15864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</a:p>
        </p:txBody>
      </p:sp>
      <p:sp>
        <p:nvSpPr>
          <p:cNvPr id="41" name="Title 13"/>
          <p:cNvSpPr txBox="1"/>
          <p:nvPr/>
        </p:nvSpPr>
        <p:spPr>
          <a:xfrm>
            <a:off x="10262495" y="3665217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几何原理</a:t>
            </a:r>
            <a:endParaRPr lang="en-US" sz="2000" dirty="0">
              <a:solidFill>
                <a:schemeClr val="tx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val 28"/>
          <p:cNvSpPr/>
          <p:nvPr/>
        </p:nvSpPr>
        <p:spPr>
          <a:xfrm rot="3326668">
            <a:off x="9858594" y="2467568"/>
            <a:ext cx="632562" cy="633671"/>
          </a:xfrm>
          <a:prstGeom prst="ellipse">
            <a:avLst/>
          </a:prstGeom>
          <a:noFill/>
          <a:ln w="1905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tx1"/>
              </a:solidFill>
              <a:cs typeface="+mn-ea"/>
              <a:sym typeface="Arial" panose="020B0604020202020204"/>
            </a:endParaRPr>
          </a:p>
        </p:txBody>
      </p:sp>
      <p:sp>
        <p:nvSpPr>
          <p:cNvPr id="42" name="Oval 28"/>
          <p:cNvSpPr/>
          <p:nvPr/>
        </p:nvSpPr>
        <p:spPr>
          <a:xfrm rot="3326668">
            <a:off x="4241338" y="2532539"/>
            <a:ext cx="632562" cy="633671"/>
          </a:xfrm>
          <a:prstGeom prst="rect">
            <a:avLst/>
          </a:prstGeom>
          <a:noFill/>
          <a:ln w="1905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tx1"/>
              </a:solidFill>
              <a:cs typeface="+mn-ea"/>
              <a:sym typeface="Arial" panose="020B0604020202020204"/>
            </a:endParaRPr>
          </a:p>
        </p:txBody>
      </p:sp>
      <p:sp>
        <p:nvSpPr>
          <p:cNvPr id="7" name="Oval 6"/>
          <p:cNvSpPr/>
          <p:nvPr/>
        </p:nvSpPr>
        <p:spPr>
          <a:xfrm>
            <a:off x="1493769" y="2511376"/>
            <a:ext cx="632562" cy="633671"/>
          </a:xfrm>
          <a:prstGeom prst="pentagon">
            <a:avLst/>
          </a:prstGeom>
          <a:solidFill>
            <a:srgbClr val="415A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4258132" y="2532860"/>
            <a:ext cx="632562" cy="63367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62" name="Content Placeholder 2"/>
          <p:cNvSpPr txBox="1"/>
          <p:nvPr/>
        </p:nvSpPr>
        <p:spPr>
          <a:xfrm>
            <a:off x="1346341" y="3896111"/>
            <a:ext cx="1907551" cy="6476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sit,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nsectetur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55" name="Oval 28"/>
          <p:cNvSpPr/>
          <p:nvPr/>
        </p:nvSpPr>
        <p:spPr>
          <a:xfrm>
            <a:off x="7022495" y="2553704"/>
            <a:ext cx="666150" cy="591343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89" name="Oval 28"/>
          <p:cNvSpPr/>
          <p:nvPr/>
        </p:nvSpPr>
        <p:spPr>
          <a:xfrm>
            <a:off x="9820446" y="2522397"/>
            <a:ext cx="632562" cy="63367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91" name="Oval 6"/>
          <p:cNvSpPr/>
          <p:nvPr/>
        </p:nvSpPr>
        <p:spPr>
          <a:xfrm>
            <a:off x="0" y="5788033"/>
            <a:ext cx="12192000" cy="1069967"/>
          </a:xfrm>
          <a:custGeom>
            <a:avLst/>
            <a:gdLst>
              <a:gd name="connsiteX0" fmla="*/ 11 w 10862519"/>
              <a:gd name="connsiteY0" fmla="*/ 742623 h 1944216"/>
              <a:gd name="connsiteX1" fmla="*/ 5431260 w 10862519"/>
              <a:gd name="connsiteY1" fmla="*/ 0 h 1944216"/>
              <a:gd name="connsiteX2" fmla="*/ 10862508 w 10862519"/>
              <a:gd name="connsiteY2" fmla="*/ 742623 h 1944216"/>
              <a:gd name="connsiteX3" fmla="*/ 8787955 w 10862519"/>
              <a:gd name="connsiteY3" fmla="*/ 1944211 h 1944216"/>
              <a:gd name="connsiteX4" fmla="*/ 2074564 w 10862519"/>
              <a:gd name="connsiteY4" fmla="*/ 1944211 h 1944216"/>
              <a:gd name="connsiteX5" fmla="*/ 11 w 10862519"/>
              <a:gd name="connsiteY5" fmla="*/ 742623 h 1944216"/>
              <a:gd name="connsiteX0-1" fmla="*/ 766618 w 11629115"/>
              <a:gd name="connsiteY0-2" fmla="*/ 742623 h 1944211"/>
              <a:gd name="connsiteX1-3" fmla="*/ 6197867 w 11629115"/>
              <a:gd name="connsiteY1-4" fmla="*/ 0 h 1944211"/>
              <a:gd name="connsiteX2-5" fmla="*/ 11629115 w 11629115"/>
              <a:gd name="connsiteY2-6" fmla="*/ 742623 h 1944211"/>
              <a:gd name="connsiteX3-7" fmla="*/ 9554562 w 11629115"/>
              <a:gd name="connsiteY3-8" fmla="*/ 1944211 h 1944211"/>
              <a:gd name="connsiteX4-9" fmla="*/ 0 w 11629115"/>
              <a:gd name="connsiteY4-10" fmla="*/ 1410811 h 1944211"/>
              <a:gd name="connsiteX5-11" fmla="*/ 766618 w 11629115"/>
              <a:gd name="connsiteY5-12" fmla="*/ 742623 h 1944211"/>
              <a:gd name="connsiteX0-13" fmla="*/ 766618 w 12493705"/>
              <a:gd name="connsiteY0-14" fmla="*/ 742623 h 1410811"/>
              <a:gd name="connsiteX1-15" fmla="*/ 6197867 w 12493705"/>
              <a:gd name="connsiteY1-16" fmla="*/ 0 h 1410811"/>
              <a:gd name="connsiteX2-17" fmla="*/ 11629115 w 12493705"/>
              <a:gd name="connsiteY2-18" fmla="*/ 742623 h 1410811"/>
              <a:gd name="connsiteX3-19" fmla="*/ 12493705 w 12493705"/>
              <a:gd name="connsiteY3-20" fmla="*/ 1269297 h 1410811"/>
              <a:gd name="connsiteX4-21" fmla="*/ 0 w 12493705"/>
              <a:gd name="connsiteY4-22" fmla="*/ 1410811 h 1410811"/>
              <a:gd name="connsiteX5-23" fmla="*/ 766618 w 12493705"/>
              <a:gd name="connsiteY5-24" fmla="*/ 742623 h 1410811"/>
              <a:gd name="connsiteX0-25" fmla="*/ 766618 w 12526362"/>
              <a:gd name="connsiteY0-26" fmla="*/ 742623 h 1410811"/>
              <a:gd name="connsiteX1-27" fmla="*/ 6197867 w 12526362"/>
              <a:gd name="connsiteY1-28" fmla="*/ 0 h 1410811"/>
              <a:gd name="connsiteX2-29" fmla="*/ 11629115 w 12526362"/>
              <a:gd name="connsiteY2-30" fmla="*/ 742623 h 1410811"/>
              <a:gd name="connsiteX3-31" fmla="*/ 12526362 w 12526362"/>
              <a:gd name="connsiteY3-32" fmla="*/ 1389040 h 1410811"/>
              <a:gd name="connsiteX4-33" fmla="*/ 0 w 12526362"/>
              <a:gd name="connsiteY4-34" fmla="*/ 1410811 h 1410811"/>
              <a:gd name="connsiteX5-35" fmla="*/ 766618 w 12526362"/>
              <a:gd name="connsiteY5-36" fmla="*/ 742623 h 1410811"/>
              <a:gd name="connsiteX0-37" fmla="*/ 766618 w 12537248"/>
              <a:gd name="connsiteY0-38" fmla="*/ 742623 h 1410811"/>
              <a:gd name="connsiteX1-39" fmla="*/ 6197867 w 12537248"/>
              <a:gd name="connsiteY1-40" fmla="*/ 0 h 1410811"/>
              <a:gd name="connsiteX2-41" fmla="*/ 11629115 w 12537248"/>
              <a:gd name="connsiteY2-42" fmla="*/ 742623 h 1410811"/>
              <a:gd name="connsiteX3-43" fmla="*/ 12537248 w 12537248"/>
              <a:gd name="connsiteY3-44" fmla="*/ 1410811 h 1410811"/>
              <a:gd name="connsiteX4-45" fmla="*/ 0 w 12537248"/>
              <a:gd name="connsiteY4-46" fmla="*/ 1410811 h 1410811"/>
              <a:gd name="connsiteX5-47" fmla="*/ 766618 w 12537248"/>
              <a:gd name="connsiteY5-48" fmla="*/ 742623 h 141081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12537248" h="1410811">
                <a:moveTo>
                  <a:pt x="766618" y="742623"/>
                </a:moveTo>
                <a:lnTo>
                  <a:pt x="6197867" y="0"/>
                </a:lnTo>
                <a:lnTo>
                  <a:pt x="11629115" y="742623"/>
                </a:lnTo>
                <a:lnTo>
                  <a:pt x="12537248" y="1410811"/>
                </a:lnTo>
                <a:lnTo>
                  <a:pt x="0" y="1410811"/>
                </a:lnTo>
                <a:lnTo>
                  <a:pt x="766618" y="74262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4" name="Content Placeholder 2"/>
          <p:cNvSpPr txBox="1"/>
          <p:nvPr/>
        </p:nvSpPr>
        <p:spPr>
          <a:xfrm>
            <a:off x="4273142" y="4478109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80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目录</a:t>
            </a:r>
            <a:endParaRPr lang="en-US" altLang="zh-CN" sz="40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6" name="Content Placeholder 2"/>
          <p:cNvSpPr txBox="1"/>
          <p:nvPr/>
        </p:nvSpPr>
        <p:spPr>
          <a:xfrm>
            <a:off x="1252519" y="3392622"/>
            <a:ext cx="1064758" cy="6122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8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绪论</a:t>
            </a:r>
            <a:endParaRPr lang="en-US" altLang="zh-CN" sz="28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7" name="Content Placeholder 2"/>
          <p:cNvSpPr txBox="1"/>
          <p:nvPr/>
        </p:nvSpPr>
        <p:spPr>
          <a:xfrm>
            <a:off x="3930867" y="1227089"/>
            <a:ext cx="1229030" cy="6122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8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实验方案</a:t>
            </a:r>
            <a:endParaRPr lang="en-US" altLang="zh-CN" sz="28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8" name="Content Placeholder 2"/>
          <p:cNvSpPr txBox="1"/>
          <p:nvPr/>
        </p:nvSpPr>
        <p:spPr>
          <a:xfrm>
            <a:off x="6842924" y="1226280"/>
            <a:ext cx="979039" cy="10773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8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实验分析</a:t>
            </a:r>
            <a:endParaRPr lang="en-US" altLang="zh-CN" sz="28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0" name="Content Placeholder 2"/>
          <p:cNvSpPr txBox="1"/>
          <p:nvPr/>
        </p:nvSpPr>
        <p:spPr>
          <a:xfrm>
            <a:off x="9579197" y="3390498"/>
            <a:ext cx="1064758" cy="6122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8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结论</a:t>
            </a:r>
            <a:endParaRPr lang="en-US" altLang="zh-CN" sz="28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1" name="Freeform 4"/>
          <p:cNvSpPr/>
          <p:nvPr/>
        </p:nvSpPr>
        <p:spPr bwMode="auto">
          <a:xfrm rot="3640363" flipH="1" flipV="1">
            <a:off x="1350401" y="2499850"/>
            <a:ext cx="819813" cy="777756"/>
          </a:xfrm>
          <a:prstGeom prst="pentagon">
            <a:avLst/>
          </a:prstGeom>
          <a:noFill/>
          <a:ln w="1905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2" name="Content Placeholder 2"/>
          <p:cNvSpPr txBox="1"/>
          <p:nvPr/>
        </p:nvSpPr>
        <p:spPr>
          <a:xfrm>
            <a:off x="9690180" y="3896110"/>
            <a:ext cx="1196052" cy="6476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sit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3" name="Content Placeholder 2"/>
          <p:cNvSpPr txBox="1"/>
          <p:nvPr/>
        </p:nvSpPr>
        <p:spPr>
          <a:xfrm>
            <a:off x="4151784" y="692696"/>
            <a:ext cx="1196052" cy="6476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sit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4" name="Content Placeholder 2"/>
          <p:cNvSpPr txBox="1"/>
          <p:nvPr/>
        </p:nvSpPr>
        <p:spPr>
          <a:xfrm>
            <a:off x="6853810" y="692696"/>
            <a:ext cx="1196052" cy="6476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sit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5" name="Content Placeholder 2"/>
          <p:cNvSpPr txBox="1"/>
          <p:nvPr/>
        </p:nvSpPr>
        <p:spPr>
          <a:xfrm>
            <a:off x="1616819" y="2584760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1</a:t>
            </a:r>
            <a:endParaRPr lang="en-US" sz="2800" dirty="0">
              <a:solidFill>
                <a:schemeClr val="bg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8" name="Content Placeholder 2"/>
          <p:cNvSpPr txBox="1"/>
          <p:nvPr/>
        </p:nvSpPr>
        <p:spPr>
          <a:xfrm>
            <a:off x="4277255" y="2584760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2</a:t>
            </a:r>
            <a:endParaRPr lang="en-US" sz="2800" dirty="0">
              <a:solidFill>
                <a:schemeClr val="bg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9" name="Content Placeholder 2"/>
          <p:cNvSpPr txBox="1"/>
          <p:nvPr/>
        </p:nvSpPr>
        <p:spPr>
          <a:xfrm>
            <a:off x="7058760" y="2584760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3</a:t>
            </a:r>
            <a:endParaRPr lang="en-US" sz="2800" dirty="0">
              <a:solidFill>
                <a:schemeClr val="bg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40" name="Content Placeholder 2"/>
          <p:cNvSpPr txBox="1"/>
          <p:nvPr/>
        </p:nvSpPr>
        <p:spPr>
          <a:xfrm>
            <a:off x="9833584" y="2584760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 smtClean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4</a:t>
            </a:r>
            <a:endParaRPr lang="en-US" sz="2800" dirty="0">
              <a:solidFill>
                <a:schemeClr val="bg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43" name="Oval 28"/>
          <p:cNvSpPr/>
          <p:nvPr/>
        </p:nvSpPr>
        <p:spPr>
          <a:xfrm rot="5726992">
            <a:off x="6954606" y="2503521"/>
            <a:ext cx="812942" cy="691706"/>
          </a:xfrm>
          <a:prstGeom prst="hexagon">
            <a:avLst/>
          </a:prstGeom>
          <a:noFill/>
          <a:ln w="1905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tx1"/>
              </a:solidFill>
              <a:cs typeface="+mn-ea"/>
              <a:sym typeface="Arial" panose="020B0604020202020204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4"/>
          <p:cNvSpPr/>
          <p:nvPr/>
        </p:nvSpPr>
        <p:spPr bwMode="auto">
          <a:xfrm rot="17744645" flipH="1" flipV="1">
            <a:off x="9290755" y="4543556"/>
            <a:ext cx="568800" cy="568603"/>
          </a:xfrm>
          <a:prstGeom prst="ellipse">
            <a:avLst/>
          </a:prstGeom>
          <a:noFill/>
          <a:ln w="28575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66" name="Freeform 4"/>
          <p:cNvSpPr/>
          <p:nvPr/>
        </p:nvSpPr>
        <p:spPr bwMode="auto">
          <a:xfrm rot="7063746" flipH="1" flipV="1">
            <a:off x="1960864" y="-609367"/>
            <a:ext cx="6858449" cy="7494264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Freeform 4"/>
          <p:cNvSpPr/>
          <p:nvPr/>
        </p:nvSpPr>
        <p:spPr bwMode="auto">
          <a:xfrm rot="6985901" flipH="1" flipV="1">
            <a:off x="2820885" y="233679"/>
            <a:ext cx="5866690" cy="6190915"/>
          </a:xfrm>
          <a:prstGeom prst="pentagon">
            <a:avLst/>
          </a:prstGeom>
          <a:solidFill>
            <a:schemeClr val="accent1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3" name="Content Placeholder 2"/>
          <p:cNvSpPr txBox="1"/>
          <p:nvPr/>
        </p:nvSpPr>
        <p:spPr>
          <a:xfrm>
            <a:off x="3227701" y="2633748"/>
            <a:ext cx="5410703" cy="16476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altLang="zh-CN" sz="8000" b="1" dirty="0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THANKS</a:t>
            </a:r>
            <a:endParaRPr lang="en-US" altLang="zh-CN" sz="8000" b="1" dirty="0">
              <a:solidFill>
                <a:schemeClr val="bg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13" name="Content Placeholder 2"/>
          <p:cNvSpPr txBox="1"/>
          <p:nvPr/>
        </p:nvSpPr>
        <p:spPr>
          <a:xfrm>
            <a:off x="9354152" y="5221684"/>
            <a:ext cx="1612885" cy="3983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000" smtClean="0">
                <a:solidFill>
                  <a:schemeClr val="bg2">
                    <a:lumMod val="50000"/>
                  </a:schemeClr>
                </a:solidFill>
                <a:latin typeface="Aharoni" panose="02010803020104030203" pitchFamily="2" charset="-79"/>
                <a:ea typeface="微软雅黑" panose="020B0503020204020204" charset="-122"/>
                <a:cs typeface="Aharoni" panose="02010803020104030203" pitchFamily="2" charset="-79"/>
                <a:sym typeface="Arial" panose="020B0604020202020204"/>
              </a:rPr>
              <a:t>PPT818</a:t>
            </a:r>
            <a:endParaRPr lang="en-US" altLang="zh-CN" sz="2000" dirty="0" smtClean="0">
              <a:solidFill>
                <a:schemeClr val="bg2">
                  <a:lumMod val="50000"/>
                </a:schemeClr>
              </a:solidFill>
              <a:latin typeface="Aharoni" panose="02010803020104030203" pitchFamily="2" charset="-79"/>
              <a:ea typeface="微软雅黑" panose="020B0503020204020204" charset="-122"/>
              <a:cs typeface="Aharoni" panose="02010803020104030203" pitchFamily="2" charset="-79"/>
              <a:sym typeface="Arial" panose="020B0604020202020204"/>
            </a:endParaRPr>
          </a:p>
        </p:txBody>
      </p:sp>
      <p:sp>
        <p:nvSpPr>
          <p:cNvPr id="17" name="Freeform 4"/>
          <p:cNvSpPr/>
          <p:nvPr/>
        </p:nvSpPr>
        <p:spPr bwMode="auto">
          <a:xfrm rot="17744645" flipH="1" flipV="1">
            <a:off x="9416928" y="4669688"/>
            <a:ext cx="316452" cy="316343"/>
          </a:xfrm>
          <a:prstGeom prst="ellipse">
            <a:avLst/>
          </a:prstGeom>
          <a:noFill/>
          <a:ln w="28575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Freeform 4"/>
          <p:cNvSpPr/>
          <p:nvPr/>
        </p:nvSpPr>
        <p:spPr bwMode="auto">
          <a:xfrm rot="17744645" flipH="1" flipV="1">
            <a:off x="9476265" y="-1063628"/>
            <a:ext cx="3416837" cy="3415660"/>
          </a:xfrm>
          <a:prstGeom prst="pentagon">
            <a:avLst/>
          </a:prstGeom>
          <a:noFill/>
          <a:ln w="12700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Freeform 4"/>
          <p:cNvSpPr/>
          <p:nvPr/>
        </p:nvSpPr>
        <p:spPr bwMode="auto">
          <a:xfrm rot="17744645" flipH="1" flipV="1">
            <a:off x="-364756" y="5108514"/>
            <a:ext cx="2471729" cy="2470878"/>
          </a:xfrm>
          <a:prstGeom prst="pentagon">
            <a:avLst/>
          </a:prstGeom>
          <a:noFill/>
          <a:ln w="12700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"/>
          <p:cNvSpPr/>
          <p:nvPr/>
        </p:nvSpPr>
        <p:spPr bwMode="auto">
          <a:xfrm rot="12127725" flipH="1" flipV="1">
            <a:off x="-715131" y="473768"/>
            <a:ext cx="5792775" cy="5495598"/>
          </a:xfrm>
          <a:prstGeom prst="pentagon">
            <a:avLst/>
          </a:prstGeom>
          <a:solidFill>
            <a:schemeClr val="accent1">
              <a:alpha val="20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Title 13"/>
          <p:cNvSpPr txBox="1"/>
          <p:nvPr/>
        </p:nvSpPr>
        <p:spPr>
          <a:xfrm>
            <a:off x="1461184" y="2636912"/>
            <a:ext cx="1440144" cy="1384754"/>
          </a:xfrm>
          <a:prstGeom prst="pentagon">
            <a:avLst/>
          </a:prstGeom>
          <a:solidFill>
            <a:schemeClr val="accent1">
              <a:alpha val="82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8800" b="1" dirty="0">
                <a:solidFill>
                  <a:schemeClr val="bg2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Arial" panose="020B0604020202020204"/>
              </a:rPr>
              <a:t>1</a:t>
            </a:r>
          </a:p>
        </p:txBody>
      </p:sp>
      <p:sp>
        <p:nvSpPr>
          <p:cNvPr id="19" name="Content Placeholder 2"/>
          <p:cNvSpPr txBox="1"/>
          <p:nvPr/>
        </p:nvSpPr>
        <p:spPr>
          <a:xfrm>
            <a:off x="8803601" y="1508778"/>
            <a:ext cx="2160240" cy="7671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000" dirty="0" smtClean="0">
                <a:solidFill>
                  <a:schemeClr val="bg2">
                    <a:alpha val="65000"/>
                  </a:schemeClr>
                </a:solidFill>
                <a:latin typeface="Aharoni" panose="02010803020104030203" pitchFamily="2" charset="-79"/>
                <a:ea typeface="Dotum" panose="020B0600000101010101" pitchFamily="34" charset="-127"/>
                <a:cs typeface="Aharoni" panose="02010803020104030203" pitchFamily="2" charset="-79"/>
                <a:sym typeface="Arial" panose="020B0604020202020204"/>
              </a:rPr>
              <a:t>PART ONE</a:t>
            </a:r>
            <a:endParaRPr lang="en-US" sz="2000" dirty="0">
              <a:solidFill>
                <a:schemeClr val="bg2">
                  <a:alpha val="65000"/>
                </a:schemeClr>
              </a:solidFill>
              <a:latin typeface="Aharoni" panose="02010803020104030203" pitchFamily="2" charset="-79"/>
              <a:ea typeface="Dotum" panose="020B0600000101010101" pitchFamily="34" charset="-127"/>
              <a:cs typeface="Aharoni" panose="02010803020104030203" pitchFamily="2" charset="-79"/>
              <a:sym typeface="Arial" panose="020B0604020202020204"/>
            </a:endParaRPr>
          </a:p>
        </p:txBody>
      </p:sp>
      <p:sp>
        <p:nvSpPr>
          <p:cNvPr id="20" name="Title 13"/>
          <p:cNvSpPr txBox="1"/>
          <p:nvPr/>
        </p:nvSpPr>
        <p:spPr>
          <a:xfrm>
            <a:off x="4727848" y="1892347"/>
            <a:ext cx="5602212" cy="317851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r" fontAlgn="base"/>
            <a:r>
              <a:rPr lang="zh-CN" altLang="en-US" sz="15000" b="1" dirty="0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绪 论</a:t>
            </a:r>
            <a:endParaRPr lang="en-US" sz="15000" b="1" dirty="0">
              <a:solidFill>
                <a:schemeClr val="bg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3" name="Freeform 4"/>
          <p:cNvSpPr/>
          <p:nvPr/>
        </p:nvSpPr>
        <p:spPr bwMode="auto">
          <a:xfrm rot="4499668" flipH="1" flipV="1">
            <a:off x="186690" y="-142399"/>
            <a:ext cx="768619" cy="729188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8" name="Freeform 207"/>
          <p:cNvSpPr/>
          <p:nvPr/>
        </p:nvSpPr>
        <p:spPr bwMode="auto">
          <a:xfrm rot="5400000">
            <a:off x="9852928" y="5181478"/>
            <a:ext cx="287064" cy="292982"/>
          </a:xfrm>
          <a:custGeom>
            <a:avLst/>
            <a:gdLst>
              <a:gd name="T0" fmla="*/ 0 w 41"/>
              <a:gd name="T1" fmla="*/ 41 h 42"/>
              <a:gd name="T2" fmla="*/ 0 w 41"/>
              <a:gd name="T3" fmla="*/ 2 h 42"/>
              <a:gd name="T4" fmla="*/ 1 w 41"/>
              <a:gd name="T5" fmla="*/ 1 h 42"/>
              <a:gd name="T6" fmla="*/ 20 w 41"/>
              <a:gd name="T7" fmla="*/ 20 h 42"/>
              <a:gd name="T8" fmla="*/ 21 w 41"/>
              <a:gd name="T9" fmla="*/ 21 h 42"/>
              <a:gd name="T10" fmla="*/ 21 w 41"/>
              <a:gd name="T11" fmla="*/ 2 h 42"/>
              <a:gd name="T12" fmla="*/ 22 w 41"/>
              <a:gd name="T13" fmla="*/ 1 h 42"/>
              <a:gd name="T14" fmla="*/ 41 w 41"/>
              <a:gd name="T15" fmla="*/ 20 h 42"/>
              <a:gd name="T16" fmla="*/ 41 w 41"/>
              <a:gd name="T17" fmla="*/ 22 h 42"/>
              <a:gd name="T18" fmla="*/ 22 w 41"/>
              <a:gd name="T19" fmla="*/ 41 h 42"/>
              <a:gd name="T20" fmla="*/ 21 w 41"/>
              <a:gd name="T21" fmla="*/ 41 h 42"/>
              <a:gd name="T22" fmla="*/ 21 w 41"/>
              <a:gd name="T23" fmla="*/ 22 h 42"/>
              <a:gd name="T24" fmla="*/ 20 w 41"/>
              <a:gd name="T25" fmla="*/ 22 h 42"/>
              <a:gd name="T26" fmla="*/ 1 w 41"/>
              <a:gd name="T27" fmla="*/ 41 h 42"/>
              <a:gd name="T28" fmla="*/ 0 w 41"/>
              <a:gd name="T29" fmla="*/ 4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1" h="42">
                <a:moveTo>
                  <a:pt x="0" y="41"/>
                </a:move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1" y="21"/>
                </a:cubicBezTo>
                <a:cubicBezTo>
                  <a:pt x="21" y="2"/>
                  <a:pt x="21" y="2"/>
                  <a:pt x="21" y="2"/>
                </a:cubicBezTo>
                <a:cubicBezTo>
                  <a:pt x="21" y="1"/>
                  <a:pt x="21" y="0"/>
                  <a:pt x="22" y="1"/>
                </a:cubicBezTo>
                <a:cubicBezTo>
                  <a:pt x="41" y="20"/>
                  <a:pt x="41" y="20"/>
                  <a:pt x="41" y="20"/>
                </a:cubicBezTo>
                <a:cubicBezTo>
                  <a:pt x="41" y="21"/>
                  <a:pt x="41" y="22"/>
                  <a:pt x="41" y="22"/>
                </a:cubicBezTo>
                <a:cubicBezTo>
                  <a:pt x="22" y="41"/>
                  <a:pt x="22" y="41"/>
                  <a:pt x="22" y="41"/>
                </a:cubicBezTo>
                <a:cubicBezTo>
                  <a:pt x="21" y="42"/>
                  <a:pt x="21" y="42"/>
                  <a:pt x="21" y="41"/>
                </a:cubicBezTo>
                <a:cubicBezTo>
                  <a:pt x="21" y="22"/>
                  <a:pt x="21" y="22"/>
                  <a:pt x="21" y="22"/>
                </a:cubicBezTo>
                <a:cubicBezTo>
                  <a:pt x="20" y="22"/>
                  <a:pt x="20" y="22"/>
                  <a:pt x="20" y="22"/>
                </a:cubicBezTo>
                <a:cubicBezTo>
                  <a:pt x="1" y="41"/>
                  <a:pt x="1" y="41"/>
                  <a:pt x="1" y="41"/>
                </a:cubicBezTo>
                <a:cubicBezTo>
                  <a:pt x="1" y="42"/>
                  <a:pt x="0" y="42"/>
                  <a:pt x="0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cxnSp>
        <p:nvCxnSpPr>
          <p:cNvPr id="3" name="直接连接符 2"/>
          <p:cNvCxnSpPr/>
          <p:nvPr/>
        </p:nvCxnSpPr>
        <p:spPr>
          <a:xfrm>
            <a:off x="5936438" y="4725144"/>
            <a:ext cx="4235315" cy="0"/>
          </a:xfrm>
          <a:prstGeom prst="line">
            <a:avLst/>
          </a:prstGeom>
          <a:ln w="19050">
            <a:solidFill>
              <a:srgbClr val="E6E6E6">
                <a:alpha val="3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851273" y="2204864"/>
            <a:ext cx="4235315" cy="0"/>
          </a:xfrm>
          <a:prstGeom prst="line">
            <a:avLst/>
          </a:prstGeom>
          <a:ln w="19050">
            <a:solidFill>
              <a:srgbClr val="E6E6E6">
                <a:alpha val="3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5851273" y="2132856"/>
            <a:ext cx="4235315" cy="0"/>
          </a:xfrm>
          <a:prstGeom prst="line">
            <a:avLst/>
          </a:prstGeom>
          <a:ln w="19050">
            <a:solidFill>
              <a:srgbClr val="E6E6E6">
                <a:alpha val="3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5936438" y="4827154"/>
            <a:ext cx="4235315" cy="0"/>
          </a:xfrm>
          <a:prstGeom prst="line">
            <a:avLst/>
          </a:prstGeom>
          <a:ln w="19050">
            <a:solidFill>
              <a:srgbClr val="E6E6E6">
                <a:alpha val="3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"/>
          <p:cNvSpPr/>
          <p:nvPr/>
        </p:nvSpPr>
        <p:spPr bwMode="auto">
          <a:xfrm rot="378364" flipH="1" flipV="1">
            <a:off x="7118035" y="999988"/>
            <a:ext cx="3378958" cy="1313517"/>
          </a:xfrm>
          <a:prstGeom prst="pent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5378615" y="5406817"/>
            <a:ext cx="2432344" cy="3840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4"/>
          <p:cNvCxnSpPr/>
          <p:nvPr/>
        </p:nvCxnSpPr>
        <p:spPr>
          <a:xfrm flipH="1">
            <a:off x="5107606" y="3554916"/>
            <a:ext cx="1789158" cy="75497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4"/>
          <p:cNvCxnSpPr/>
          <p:nvPr/>
        </p:nvCxnSpPr>
        <p:spPr>
          <a:xfrm flipH="1">
            <a:off x="4586610" y="1749214"/>
            <a:ext cx="1676457" cy="226101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正五边形 27"/>
          <p:cNvSpPr/>
          <p:nvPr/>
        </p:nvSpPr>
        <p:spPr>
          <a:xfrm rot="20387256">
            <a:off x="7543629" y="4699097"/>
            <a:ext cx="1437953" cy="1336986"/>
          </a:xfrm>
          <a:prstGeom prst="pentagon">
            <a:avLst/>
          </a:prstGeom>
          <a:solidFill>
            <a:srgbClr val="00DC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正五边形 26"/>
          <p:cNvSpPr/>
          <p:nvPr/>
        </p:nvSpPr>
        <p:spPr>
          <a:xfrm rot="16200000">
            <a:off x="6669835" y="2746248"/>
            <a:ext cx="1760089" cy="1636503"/>
          </a:xfrm>
          <a:prstGeom prst="pentagon">
            <a:avLst/>
          </a:prstGeom>
          <a:solidFill>
            <a:srgbClr val="00DC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正五边形 23"/>
          <p:cNvSpPr/>
          <p:nvPr/>
        </p:nvSpPr>
        <p:spPr>
          <a:xfrm rot="16200000">
            <a:off x="5919033" y="904368"/>
            <a:ext cx="1424520" cy="1324497"/>
          </a:xfrm>
          <a:prstGeom prst="pentagon">
            <a:avLst/>
          </a:prstGeom>
          <a:solidFill>
            <a:srgbClr val="00DC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正五边形 1"/>
          <p:cNvSpPr/>
          <p:nvPr/>
        </p:nvSpPr>
        <p:spPr>
          <a:xfrm rot="15019361">
            <a:off x="2610883" y="3729518"/>
            <a:ext cx="2864297" cy="2663179"/>
          </a:xfrm>
          <a:prstGeom prst="pentagon">
            <a:avLst/>
          </a:prstGeom>
          <a:solidFill>
            <a:srgbClr val="415A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17" name="Content Placeholder 2"/>
          <p:cNvSpPr>
            <a:spLocks noGrp="1"/>
          </p:cNvSpPr>
          <p:nvPr>
            <p:ph idx="4294967295"/>
          </p:nvPr>
        </p:nvSpPr>
        <p:spPr>
          <a:xfrm>
            <a:off x="9267465" y="4921742"/>
            <a:ext cx="1530873" cy="107851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1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You must begin defining user needs, what goals you plan to </a:t>
            </a:r>
            <a:r>
              <a:rPr lang="en-US" sz="11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accomplish</a:t>
            </a:r>
            <a:endParaRPr lang="en-US" sz="1100" dirty="0">
              <a:solidFill>
                <a:schemeClr val="bg2">
                  <a:lumMod val="50000"/>
                </a:schemeClr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419" name="Title 13"/>
          <p:cNvSpPr txBox="1"/>
          <p:nvPr/>
        </p:nvSpPr>
        <p:spPr>
          <a:xfrm>
            <a:off x="7687396" y="5166668"/>
            <a:ext cx="2884425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Define</a:t>
            </a:r>
          </a:p>
        </p:txBody>
      </p:sp>
      <p:sp>
        <p:nvSpPr>
          <p:cNvPr id="403" name="Freeform 16"/>
          <p:cNvSpPr>
            <a:spLocks noEditPoints="1"/>
          </p:cNvSpPr>
          <p:nvPr/>
        </p:nvSpPr>
        <p:spPr bwMode="auto">
          <a:xfrm rot="2297189">
            <a:off x="3805998" y="4497736"/>
            <a:ext cx="776219" cy="1060337"/>
          </a:xfrm>
          <a:custGeom>
            <a:avLst/>
            <a:gdLst>
              <a:gd name="T0" fmla="*/ 90 w 293"/>
              <a:gd name="T1" fmla="*/ 383 h 400"/>
              <a:gd name="T2" fmla="*/ 147 w 293"/>
              <a:gd name="T3" fmla="*/ 400 h 400"/>
              <a:gd name="T4" fmla="*/ 203 w 293"/>
              <a:gd name="T5" fmla="*/ 383 h 400"/>
              <a:gd name="T6" fmla="*/ 203 w 293"/>
              <a:gd name="T7" fmla="*/ 342 h 400"/>
              <a:gd name="T8" fmla="*/ 90 w 293"/>
              <a:gd name="T9" fmla="*/ 342 h 400"/>
              <a:gd name="T10" fmla="*/ 90 w 293"/>
              <a:gd name="T11" fmla="*/ 383 h 400"/>
              <a:gd name="T12" fmla="*/ 201 w 293"/>
              <a:gd name="T13" fmla="*/ 318 h 400"/>
              <a:gd name="T14" fmla="*/ 286 w 293"/>
              <a:gd name="T15" fmla="*/ 116 h 400"/>
              <a:gd name="T16" fmla="*/ 147 w 293"/>
              <a:gd name="T17" fmla="*/ 0 h 400"/>
              <a:gd name="T18" fmla="*/ 7 w 293"/>
              <a:gd name="T19" fmla="*/ 116 h 400"/>
              <a:gd name="T20" fmla="*/ 93 w 293"/>
              <a:gd name="T21" fmla="*/ 318 h 400"/>
              <a:gd name="T22" fmla="*/ 201 w 293"/>
              <a:gd name="T23" fmla="*/ 318 h 400"/>
              <a:gd name="T24" fmla="*/ 50 w 293"/>
              <a:gd name="T25" fmla="*/ 119 h 400"/>
              <a:gd name="T26" fmla="*/ 147 w 293"/>
              <a:gd name="T27" fmla="*/ 41 h 400"/>
              <a:gd name="T28" fmla="*/ 244 w 293"/>
              <a:gd name="T29" fmla="*/ 119 h 400"/>
              <a:gd name="T30" fmla="*/ 208 w 293"/>
              <a:gd name="T31" fmla="*/ 198 h 400"/>
              <a:gd name="T32" fmla="*/ 163 w 293"/>
              <a:gd name="T33" fmla="*/ 283 h 400"/>
              <a:gd name="T34" fmla="*/ 130 w 293"/>
              <a:gd name="T35" fmla="*/ 283 h 400"/>
              <a:gd name="T36" fmla="*/ 86 w 293"/>
              <a:gd name="T37" fmla="*/ 198 h 400"/>
              <a:gd name="T38" fmla="*/ 50 w 293"/>
              <a:gd name="T39" fmla="*/ 119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93" h="400">
                <a:moveTo>
                  <a:pt x="90" y="383"/>
                </a:moveTo>
                <a:cubicBezTo>
                  <a:pt x="106" y="393"/>
                  <a:pt x="125" y="400"/>
                  <a:pt x="147" y="400"/>
                </a:cubicBezTo>
                <a:cubicBezTo>
                  <a:pt x="169" y="400"/>
                  <a:pt x="187" y="393"/>
                  <a:pt x="203" y="383"/>
                </a:cubicBezTo>
                <a:cubicBezTo>
                  <a:pt x="203" y="342"/>
                  <a:pt x="203" y="342"/>
                  <a:pt x="203" y="342"/>
                </a:cubicBezTo>
                <a:cubicBezTo>
                  <a:pt x="90" y="342"/>
                  <a:pt x="90" y="342"/>
                  <a:pt x="90" y="342"/>
                </a:cubicBezTo>
                <a:lnTo>
                  <a:pt x="90" y="383"/>
                </a:lnTo>
                <a:close/>
                <a:moveTo>
                  <a:pt x="201" y="318"/>
                </a:moveTo>
                <a:cubicBezTo>
                  <a:pt x="201" y="231"/>
                  <a:pt x="293" y="203"/>
                  <a:pt x="286" y="116"/>
                </a:cubicBezTo>
                <a:cubicBezTo>
                  <a:pt x="282" y="61"/>
                  <a:pt x="245" y="0"/>
                  <a:pt x="147" y="0"/>
                </a:cubicBezTo>
                <a:cubicBezTo>
                  <a:pt x="49" y="0"/>
                  <a:pt x="12" y="61"/>
                  <a:pt x="7" y="116"/>
                </a:cubicBezTo>
                <a:cubicBezTo>
                  <a:pt x="0" y="203"/>
                  <a:pt x="93" y="231"/>
                  <a:pt x="93" y="318"/>
                </a:cubicBezTo>
                <a:lnTo>
                  <a:pt x="201" y="318"/>
                </a:lnTo>
                <a:close/>
                <a:moveTo>
                  <a:pt x="50" y="119"/>
                </a:moveTo>
                <a:cubicBezTo>
                  <a:pt x="54" y="67"/>
                  <a:pt x="89" y="41"/>
                  <a:pt x="147" y="41"/>
                </a:cubicBezTo>
                <a:cubicBezTo>
                  <a:pt x="204" y="41"/>
                  <a:pt x="240" y="67"/>
                  <a:pt x="244" y="119"/>
                </a:cubicBezTo>
                <a:cubicBezTo>
                  <a:pt x="246" y="148"/>
                  <a:pt x="230" y="167"/>
                  <a:pt x="208" y="198"/>
                </a:cubicBezTo>
                <a:cubicBezTo>
                  <a:pt x="192" y="221"/>
                  <a:pt x="172" y="248"/>
                  <a:pt x="163" y="283"/>
                </a:cubicBezTo>
                <a:cubicBezTo>
                  <a:pt x="130" y="283"/>
                  <a:pt x="130" y="283"/>
                  <a:pt x="130" y="283"/>
                </a:cubicBezTo>
                <a:cubicBezTo>
                  <a:pt x="121" y="248"/>
                  <a:pt x="102" y="221"/>
                  <a:pt x="86" y="198"/>
                </a:cubicBezTo>
                <a:cubicBezTo>
                  <a:pt x="64" y="167"/>
                  <a:pt x="47" y="148"/>
                  <a:pt x="50" y="11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/>
          </a:p>
        </p:txBody>
      </p:sp>
      <p:sp>
        <p:nvSpPr>
          <p:cNvPr id="404" name="Content Placeholder 2"/>
          <p:cNvSpPr txBox="1"/>
          <p:nvPr/>
        </p:nvSpPr>
        <p:spPr>
          <a:xfrm>
            <a:off x="8610289" y="3091102"/>
            <a:ext cx="2448272" cy="7460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You must begin defining user needs, what goals you plan to accomplish and how you plan on positioning yourself within the competition.</a:t>
            </a:r>
          </a:p>
        </p:txBody>
      </p:sp>
      <p:sp>
        <p:nvSpPr>
          <p:cNvPr id="418" name="Title 13"/>
          <p:cNvSpPr txBox="1"/>
          <p:nvPr/>
        </p:nvSpPr>
        <p:spPr>
          <a:xfrm>
            <a:off x="6430679" y="3260584"/>
            <a:ext cx="2376835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 err="1" smtClean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Featle</a:t>
            </a:r>
            <a:endParaRPr lang="en-US" sz="2400" dirty="0">
              <a:solidFill>
                <a:schemeClr val="bg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5" name="Content Placeholder 2"/>
          <p:cNvSpPr txBox="1"/>
          <p:nvPr/>
        </p:nvSpPr>
        <p:spPr>
          <a:xfrm>
            <a:off x="7666247" y="1178544"/>
            <a:ext cx="2448272" cy="7460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You must begin defining user needs, what goals you plan to accomplish and how you plan on positioning yourself within the competition.</a:t>
            </a:r>
          </a:p>
        </p:txBody>
      </p:sp>
      <p:sp>
        <p:nvSpPr>
          <p:cNvPr id="26" name="Title 13"/>
          <p:cNvSpPr txBox="1"/>
          <p:nvPr/>
        </p:nvSpPr>
        <p:spPr>
          <a:xfrm>
            <a:off x="5514056" y="1256667"/>
            <a:ext cx="2376835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solidFill>
                  <a:schemeClr val="bg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deate</a:t>
            </a:r>
          </a:p>
        </p:txBody>
      </p:sp>
      <p:sp>
        <p:nvSpPr>
          <p:cNvPr id="16" name="Content Placeholder 2"/>
          <p:cNvSpPr txBox="1"/>
          <p:nvPr/>
        </p:nvSpPr>
        <p:spPr>
          <a:xfrm>
            <a:off x="275106" y="1158738"/>
            <a:ext cx="3660654" cy="11818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17" name="Content Placeholder 2"/>
          <p:cNvSpPr txBox="1"/>
          <p:nvPr/>
        </p:nvSpPr>
        <p:spPr>
          <a:xfrm>
            <a:off x="303704" y="2572191"/>
            <a:ext cx="2031859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urabitur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ementum posuere pretium.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Quisque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nibh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dolor,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dignissim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ac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45" name="Freeform 4"/>
          <p:cNvSpPr/>
          <p:nvPr/>
        </p:nvSpPr>
        <p:spPr bwMode="auto">
          <a:xfrm rot="12279142" flipH="1" flipV="1">
            <a:off x="8858113" y="4668388"/>
            <a:ext cx="2383956" cy="1396105"/>
          </a:xfrm>
          <a:prstGeom prst="pent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6" name="Freeform 4"/>
          <p:cNvSpPr/>
          <p:nvPr/>
        </p:nvSpPr>
        <p:spPr bwMode="auto">
          <a:xfrm rot="12279142" flipH="1" flipV="1">
            <a:off x="10908377" y="3669672"/>
            <a:ext cx="300369" cy="282008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1" name="Title 13"/>
          <p:cNvSpPr txBox="1"/>
          <p:nvPr/>
        </p:nvSpPr>
        <p:spPr>
          <a:xfrm>
            <a:off x="317110" y="626757"/>
            <a:ext cx="1295400" cy="3683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研究</a:t>
            </a:r>
            <a:r>
              <a:rPr lang="zh-CN" altLang="en-US" sz="1400" b="1" dirty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背景</a:t>
            </a:r>
            <a:endParaRPr lang="en-US" sz="1400" b="1" dirty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52" name="Freeform 4"/>
          <p:cNvSpPr/>
          <p:nvPr/>
        </p:nvSpPr>
        <p:spPr bwMode="auto">
          <a:xfrm rot="12279142" flipH="1" flipV="1">
            <a:off x="519565" y="417083"/>
            <a:ext cx="675668" cy="634366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Freeform 4"/>
          <p:cNvSpPr/>
          <p:nvPr/>
        </p:nvSpPr>
        <p:spPr bwMode="auto">
          <a:xfrm rot="10442370" flipH="1" flipV="1">
            <a:off x="5362315" y="3692396"/>
            <a:ext cx="2120540" cy="1990916"/>
          </a:xfrm>
          <a:prstGeom prst="pent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2287649" y="3576936"/>
            <a:ext cx="1472620" cy="863256"/>
          </a:xfrm>
          <a:prstGeom prst="line">
            <a:avLst/>
          </a:prstGeom>
          <a:ln w="9525" cap="rnd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V="1">
            <a:off x="6153674" y="4678017"/>
            <a:ext cx="554508" cy="50913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/>
          <p:cNvSpPr/>
          <p:nvPr/>
        </p:nvSpPr>
        <p:spPr>
          <a:xfrm>
            <a:off x="7809270" y="1163453"/>
            <a:ext cx="924450" cy="872825"/>
          </a:xfrm>
          <a:prstGeom prst="pen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679525" y="4273447"/>
            <a:ext cx="697037" cy="698259"/>
          </a:xfrm>
          <a:prstGeom prst="pen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grpSp>
        <p:nvGrpSpPr>
          <p:cNvPr id="52" name="组合 51"/>
          <p:cNvGrpSpPr/>
          <p:nvPr/>
        </p:nvGrpSpPr>
        <p:grpSpPr>
          <a:xfrm>
            <a:off x="3658190" y="2980935"/>
            <a:ext cx="697037" cy="698259"/>
            <a:chOff x="1357290" y="2385443"/>
            <a:chExt cx="697037" cy="698259"/>
          </a:xfrm>
        </p:grpSpPr>
        <p:sp>
          <p:nvSpPr>
            <p:cNvPr id="24" name="Oval 23"/>
            <p:cNvSpPr/>
            <p:nvPr/>
          </p:nvSpPr>
          <p:spPr>
            <a:xfrm>
              <a:off x="1357290" y="2385443"/>
              <a:ext cx="697037" cy="698259"/>
            </a:xfrm>
            <a:prstGeom prst="pent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42" name="Freeform 6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522551" y="2531628"/>
              <a:ext cx="368045" cy="417962"/>
            </a:xfrm>
            <a:custGeom>
              <a:avLst/>
              <a:gdLst>
                <a:gd name="T0" fmla="*/ 294 w 376"/>
                <a:gd name="T1" fmla="*/ 269 h 360"/>
                <a:gd name="T2" fmla="*/ 229 w 376"/>
                <a:gd name="T3" fmla="*/ 203 h 360"/>
                <a:gd name="T4" fmla="*/ 251 w 376"/>
                <a:gd name="T5" fmla="*/ 154 h 360"/>
                <a:gd name="T6" fmla="*/ 269 w 376"/>
                <a:gd name="T7" fmla="*/ 120 h 360"/>
                <a:gd name="T8" fmla="*/ 262 w 376"/>
                <a:gd name="T9" fmla="*/ 104 h 360"/>
                <a:gd name="T10" fmla="*/ 267 w 376"/>
                <a:gd name="T11" fmla="*/ 68 h 360"/>
                <a:gd name="T12" fmla="*/ 188 w 376"/>
                <a:gd name="T13" fmla="*/ 0 h 360"/>
                <a:gd name="T14" fmla="*/ 108 w 376"/>
                <a:gd name="T15" fmla="*/ 68 h 360"/>
                <a:gd name="T16" fmla="*/ 113 w 376"/>
                <a:gd name="T17" fmla="*/ 104 h 360"/>
                <a:gd name="T18" fmla="*/ 106 w 376"/>
                <a:gd name="T19" fmla="*/ 120 h 360"/>
                <a:gd name="T20" fmla="*/ 125 w 376"/>
                <a:gd name="T21" fmla="*/ 154 h 360"/>
                <a:gd name="T22" fmla="*/ 146 w 376"/>
                <a:gd name="T23" fmla="*/ 203 h 360"/>
                <a:gd name="T24" fmla="*/ 81 w 376"/>
                <a:gd name="T25" fmla="*/ 269 h 360"/>
                <a:gd name="T26" fmla="*/ 0 w 376"/>
                <a:gd name="T27" fmla="*/ 318 h 360"/>
                <a:gd name="T28" fmla="*/ 0 w 376"/>
                <a:gd name="T29" fmla="*/ 360 h 360"/>
                <a:gd name="T30" fmla="*/ 188 w 376"/>
                <a:gd name="T31" fmla="*/ 360 h 360"/>
                <a:gd name="T32" fmla="*/ 376 w 376"/>
                <a:gd name="T33" fmla="*/ 360 h 360"/>
                <a:gd name="T34" fmla="*/ 376 w 376"/>
                <a:gd name="T35" fmla="*/ 318 h 360"/>
                <a:gd name="T36" fmla="*/ 294 w 376"/>
                <a:gd name="T37" fmla="*/ 269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" h="360">
                  <a:moveTo>
                    <a:pt x="294" y="269"/>
                  </a:moveTo>
                  <a:cubicBezTo>
                    <a:pt x="245" y="251"/>
                    <a:pt x="229" y="236"/>
                    <a:pt x="229" y="203"/>
                  </a:cubicBezTo>
                  <a:cubicBezTo>
                    <a:pt x="229" y="184"/>
                    <a:pt x="244" y="190"/>
                    <a:pt x="251" y="154"/>
                  </a:cubicBezTo>
                  <a:cubicBezTo>
                    <a:pt x="254" y="140"/>
                    <a:pt x="267" y="154"/>
                    <a:pt x="269" y="120"/>
                  </a:cubicBezTo>
                  <a:cubicBezTo>
                    <a:pt x="269" y="107"/>
                    <a:pt x="262" y="104"/>
                    <a:pt x="262" y="104"/>
                  </a:cubicBezTo>
                  <a:cubicBezTo>
                    <a:pt x="262" y="104"/>
                    <a:pt x="266" y="84"/>
                    <a:pt x="267" y="68"/>
                  </a:cubicBezTo>
                  <a:cubicBezTo>
                    <a:pt x="269" y="49"/>
                    <a:pt x="256" y="0"/>
                    <a:pt x="188" y="0"/>
                  </a:cubicBezTo>
                  <a:cubicBezTo>
                    <a:pt x="119" y="0"/>
                    <a:pt x="107" y="49"/>
                    <a:pt x="108" y="68"/>
                  </a:cubicBezTo>
                  <a:cubicBezTo>
                    <a:pt x="110" y="84"/>
                    <a:pt x="113" y="104"/>
                    <a:pt x="113" y="104"/>
                  </a:cubicBezTo>
                  <a:cubicBezTo>
                    <a:pt x="113" y="104"/>
                    <a:pt x="106" y="107"/>
                    <a:pt x="106" y="120"/>
                  </a:cubicBezTo>
                  <a:cubicBezTo>
                    <a:pt x="109" y="154"/>
                    <a:pt x="122" y="140"/>
                    <a:pt x="125" y="154"/>
                  </a:cubicBezTo>
                  <a:cubicBezTo>
                    <a:pt x="131" y="190"/>
                    <a:pt x="146" y="184"/>
                    <a:pt x="146" y="203"/>
                  </a:cubicBezTo>
                  <a:cubicBezTo>
                    <a:pt x="146" y="236"/>
                    <a:pt x="131" y="251"/>
                    <a:pt x="81" y="269"/>
                  </a:cubicBezTo>
                  <a:cubicBezTo>
                    <a:pt x="32" y="287"/>
                    <a:pt x="0" y="305"/>
                    <a:pt x="0" y="318"/>
                  </a:cubicBezTo>
                  <a:cubicBezTo>
                    <a:pt x="0" y="330"/>
                    <a:pt x="0" y="360"/>
                    <a:pt x="0" y="360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376" y="360"/>
                    <a:pt x="376" y="360"/>
                    <a:pt x="376" y="360"/>
                  </a:cubicBezTo>
                  <a:cubicBezTo>
                    <a:pt x="376" y="360"/>
                    <a:pt x="376" y="330"/>
                    <a:pt x="376" y="318"/>
                  </a:cubicBezTo>
                  <a:cubicBezTo>
                    <a:pt x="376" y="305"/>
                    <a:pt x="344" y="287"/>
                    <a:pt x="294" y="269"/>
                  </a:cubicBezTo>
                  <a:close/>
                </a:path>
              </a:pathLst>
            </a:custGeom>
            <a:solidFill>
              <a:srgbClr val="FCFCF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000" dirty="0"/>
            </a:p>
          </p:txBody>
        </p:sp>
      </p:grpSp>
      <p:sp>
        <p:nvSpPr>
          <p:cNvPr id="62" name="Title 13"/>
          <p:cNvSpPr txBox="1"/>
          <p:nvPr/>
        </p:nvSpPr>
        <p:spPr>
          <a:xfrm>
            <a:off x="4414668" y="2668120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B</a:t>
            </a:r>
            <a:endParaRPr lang="en-US" sz="1400" dirty="0">
              <a:solidFill>
                <a:schemeClr val="tx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0472160" y="2047189"/>
            <a:ext cx="566343" cy="567335"/>
            <a:chOff x="5738811" y="2713533"/>
            <a:chExt cx="566343" cy="567335"/>
          </a:xfrm>
        </p:grpSpPr>
        <p:sp>
          <p:nvSpPr>
            <p:cNvPr id="33" name="Oval 32"/>
            <p:cNvSpPr/>
            <p:nvPr/>
          </p:nvSpPr>
          <p:spPr>
            <a:xfrm>
              <a:off x="5738811" y="2713533"/>
              <a:ext cx="566343" cy="567335"/>
            </a:xfrm>
            <a:prstGeom prst="pent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81" name="Freeform 6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5916784" y="2860668"/>
              <a:ext cx="235414" cy="267340"/>
            </a:xfrm>
            <a:custGeom>
              <a:avLst/>
              <a:gdLst>
                <a:gd name="T0" fmla="*/ 294 w 376"/>
                <a:gd name="T1" fmla="*/ 269 h 360"/>
                <a:gd name="T2" fmla="*/ 229 w 376"/>
                <a:gd name="T3" fmla="*/ 203 h 360"/>
                <a:gd name="T4" fmla="*/ 251 w 376"/>
                <a:gd name="T5" fmla="*/ 154 h 360"/>
                <a:gd name="T6" fmla="*/ 269 w 376"/>
                <a:gd name="T7" fmla="*/ 120 h 360"/>
                <a:gd name="T8" fmla="*/ 262 w 376"/>
                <a:gd name="T9" fmla="*/ 104 h 360"/>
                <a:gd name="T10" fmla="*/ 267 w 376"/>
                <a:gd name="T11" fmla="*/ 68 h 360"/>
                <a:gd name="T12" fmla="*/ 188 w 376"/>
                <a:gd name="T13" fmla="*/ 0 h 360"/>
                <a:gd name="T14" fmla="*/ 108 w 376"/>
                <a:gd name="T15" fmla="*/ 68 h 360"/>
                <a:gd name="T16" fmla="*/ 113 w 376"/>
                <a:gd name="T17" fmla="*/ 104 h 360"/>
                <a:gd name="T18" fmla="*/ 106 w 376"/>
                <a:gd name="T19" fmla="*/ 120 h 360"/>
                <a:gd name="T20" fmla="*/ 125 w 376"/>
                <a:gd name="T21" fmla="*/ 154 h 360"/>
                <a:gd name="T22" fmla="*/ 146 w 376"/>
                <a:gd name="T23" fmla="*/ 203 h 360"/>
                <a:gd name="T24" fmla="*/ 81 w 376"/>
                <a:gd name="T25" fmla="*/ 269 h 360"/>
                <a:gd name="T26" fmla="*/ 0 w 376"/>
                <a:gd name="T27" fmla="*/ 318 h 360"/>
                <a:gd name="T28" fmla="*/ 0 w 376"/>
                <a:gd name="T29" fmla="*/ 360 h 360"/>
                <a:gd name="T30" fmla="*/ 188 w 376"/>
                <a:gd name="T31" fmla="*/ 360 h 360"/>
                <a:gd name="T32" fmla="*/ 376 w 376"/>
                <a:gd name="T33" fmla="*/ 360 h 360"/>
                <a:gd name="T34" fmla="*/ 376 w 376"/>
                <a:gd name="T35" fmla="*/ 318 h 360"/>
                <a:gd name="T36" fmla="*/ 294 w 376"/>
                <a:gd name="T37" fmla="*/ 269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" h="360">
                  <a:moveTo>
                    <a:pt x="294" y="269"/>
                  </a:moveTo>
                  <a:cubicBezTo>
                    <a:pt x="245" y="251"/>
                    <a:pt x="229" y="236"/>
                    <a:pt x="229" y="203"/>
                  </a:cubicBezTo>
                  <a:cubicBezTo>
                    <a:pt x="229" y="184"/>
                    <a:pt x="244" y="190"/>
                    <a:pt x="251" y="154"/>
                  </a:cubicBezTo>
                  <a:cubicBezTo>
                    <a:pt x="254" y="140"/>
                    <a:pt x="267" y="154"/>
                    <a:pt x="269" y="120"/>
                  </a:cubicBezTo>
                  <a:cubicBezTo>
                    <a:pt x="269" y="107"/>
                    <a:pt x="262" y="104"/>
                    <a:pt x="262" y="104"/>
                  </a:cubicBezTo>
                  <a:cubicBezTo>
                    <a:pt x="262" y="104"/>
                    <a:pt x="266" y="84"/>
                    <a:pt x="267" y="68"/>
                  </a:cubicBezTo>
                  <a:cubicBezTo>
                    <a:pt x="269" y="49"/>
                    <a:pt x="256" y="0"/>
                    <a:pt x="188" y="0"/>
                  </a:cubicBezTo>
                  <a:cubicBezTo>
                    <a:pt x="119" y="0"/>
                    <a:pt x="107" y="49"/>
                    <a:pt x="108" y="68"/>
                  </a:cubicBezTo>
                  <a:cubicBezTo>
                    <a:pt x="110" y="84"/>
                    <a:pt x="113" y="104"/>
                    <a:pt x="113" y="104"/>
                  </a:cubicBezTo>
                  <a:cubicBezTo>
                    <a:pt x="113" y="104"/>
                    <a:pt x="106" y="107"/>
                    <a:pt x="106" y="120"/>
                  </a:cubicBezTo>
                  <a:cubicBezTo>
                    <a:pt x="109" y="154"/>
                    <a:pt x="122" y="140"/>
                    <a:pt x="125" y="154"/>
                  </a:cubicBezTo>
                  <a:cubicBezTo>
                    <a:pt x="131" y="190"/>
                    <a:pt x="146" y="184"/>
                    <a:pt x="146" y="203"/>
                  </a:cubicBezTo>
                  <a:cubicBezTo>
                    <a:pt x="146" y="236"/>
                    <a:pt x="131" y="251"/>
                    <a:pt x="81" y="269"/>
                  </a:cubicBezTo>
                  <a:cubicBezTo>
                    <a:pt x="32" y="287"/>
                    <a:pt x="0" y="305"/>
                    <a:pt x="0" y="318"/>
                  </a:cubicBezTo>
                  <a:cubicBezTo>
                    <a:pt x="0" y="330"/>
                    <a:pt x="0" y="360"/>
                    <a:pt x="0" y="360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376" y="360"/>
                    <a:pt x="376" y="360"/>
                    <a:pt x="376" y="360"/>
                  </a:cubicBezTo>
                  <a:cubicBezTo>
                    <a:pt x="376" y="360"/>
                    <a:pt x="376" y="330"/>
                    <a:pt x="376" y="318"/>
                  </a:cubicBezTo>
                  <a:cubicBezTo>
                    <a:pt x="376" y="305"/>
                    <a:pt x="344" y="287"/>
                    <a:pt x="294" y="269"/>
                  </a:cubicBezTo>
                  <a:close/>
                </a:path>
              </a:pathLst>
            </a:custGeom>
            <a:solidFill>
              <a:srgbClr val="FCFCF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000" dirty="0"/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5412453" y="3788128"/>
            <a:ext cx="2096034" cy="1932595"/>
            <a:chOff x="5123566" y="3498474"/>
            <a:chExt cx="1089761" cy="1004786"/>
          </a:xfrm>
        </p:grpSpPr>
        <p:sp>
          <p:nvSpPr>
            <p:cNvPr id="34" name="Oval 33"/>
            <p:cNvSpPr/>
            <p:nvPr/>
          </p:nvSpPr>
          <p:spPr>
            <a:xfrm>
              <a:off x="5123566" y="3498474"/>
              <a:ext cx="1089761" cy="1004786"/>
            </a:xfrm>
            <a:prstGeom prst="pentag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latin typeface="Arial" panose="020B0604020202020204"/>
                <a:ea typeface="微软雅黑" panose="020B0503020204020204" charset="-122"/>
                <a:sym typeface="Arial" panose="020B0604020202020204"/>
              </a:endParaRPr>
            </a:p>
          </p:txBody>
        </p:sp>
        <p:sp>
          <p:nvSpPr>
            <p:cNvPr id="87" name="Freeform 6"/>
            <p:cNvSpPr/>
            <p:nvPr>
              <p:custDataLst>
                <p:tags r:id="rId3"/>
              </p:custDataLst>
            </p:nvPr>
          </p:nvSpPr>
          <p:spPr bwMode="auto">
            <a:xfrm>
              <a:off x="5429256" y="3718374"/>
              <a:ext cx="500066" cy="567882"/>
            </a:xfrm>
            <a:custGeom>
              <a:avLst/>
              <a:gdLst>
                <a:gd name="T0" fmla="*/ 294 w 376"/>
                <a:gd name="T1" fmla="*/ 269 h 360"/>
                <a:gd name="T2" fmla="*/ 229 w 376"/>
                <a:gd name="T3" fmla="*/ 203 h 360"/>
                <a:gd name="T4" fmla="*/ 251 w 376"/>
                <a:gd name="T5" fmla="*/ 154 h 360"/>
                <a:gd name="T6" fmla="*/ 269 w 376"/>
                <a:gd name="T7" fmla="*/ 120 h 360"/>
                <a:gd name="T8" fmla="*/ 262 w 376"/>
                <a:gd name="T9" fmla="*/ 104 h 360"/>
                <a:gd name="T10" fmla="*/ 267 w 376"/>
                <a:gd name="T11" fmla="*/ 68 h 360"/>
                <a:gd name="T12" fmla="*/ 188 w 376"/>
                <a:gd name="T13" fmla="*/ 0 h 360"/>
                <a:gd name="T14" fmla="*/ 108 w 376"/>
                <a:gd name="T15" fmla="*/ 68 h 360"/>
                <a:gd name="T16" fmla="*/ 113 w 376"/>
                <a:gd name="T17" fmla="*/ 104 h 360"/>
                <a:gd name="T18" fmla="*/ 106 w 376"/>
                <a:gd name="T19" fmla="*/ 120 h 360"/>
                <a:gd name="T20" fmla="*/ 125 w 376"/>
                <a:gd name="T21" fmla="*/ 154 h 360"/>
                <a:gd name="T22" fmla="*/ 146 w 376"/>
                <a:gd name="T23" fmla="*/ 203 h 360"/>
                <a:gd name="T24" fmla="*/ 81 w 376"/>
                <a:gd name="T25" fmla="*/ 269 h 360"/>
                <a:gd name="T26" fmla="*/ 0 w 376"/>
                <a:gd name="T27" fmla="*/ 318 h 360"/>
                <a:gd name="T28" fmla="*/ 0 w 376"/>
                <a:gd name="T29" fmla="*/ 360 h 360"/>
                <a:gd name="T30" fmla="*/ 188 w 376"/>
                <a:gd name="T31" fmla="*/ 360 h 360"/>
                <a:gd name="T32" fmla="*/ 376 w 376"/>
                <a:gd name="T33" fmla="*/ 360 h 360"/>
                <a:gd name="T34" fmla="*/ 376 w 376"/>
                <a:gd name="T35" fmla="*/ 318 h 360"/>
                <a:gd name="T36" fmla="*/ 294 w 376"/>
                <a:gd name="T37" fmla="*/ 269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" h="360">
                  <a:moveTo>
                    <a:pt x="294" y="269"/>
                  </a:moveTo>
                  <a:cubicBezTo>
                    <a:pt x="245" y="251"/>
                    <a:pt x="229" y="236"/>
                    <a:pt x="229" y="203"/>
                  </a:cubicBezTo>
                  <a:cubicBezTo>
                    <a:pt x="229" y="184"/>
                    <a:pt x="244" y="190"/>
                    <a:pt x="251" y="154"/>
                  </a:cubicBezTo>
                  <a:cubicBezTo>
                    <a:pt x="254" y="140"/>
                    <a:pt x="267" y="154"/>
                    <a:pt x="269" y="120"/>
                  </a:cubicBezTo>
                  <a:cubicBezTo>
                    <a:pt x="269" y="107"/>
                    <a:pt x="262" y="104"/>
                    <a:pt x="262" y="104"/>
                  </a:cubicBezTo>
                  <a:cubicBezTo>
                    <a:pt x="262" y="104"/>
                    <a:pt x="266" y="84"/>
                    <a:pt x="267" y="68"/>
                  </a:cubicBezTo>
                  <a:cubicBezTo>
                    <a:pt x="269" y="49"/>
                    <a:pt x="256" y="0"/>
                    <a:pt x="188" y="0"/>
                  </a:cubicBezTo>
                  <a:cubicBezTo>
                    <a:pt x="119" y="0"/>
                    <a:pt x="107" y="49"/>
                    <a:pt x="108" y="68"/>
                  </a:cubicBezTo>
                  <a:cubicBezTo>
                    <a:pt x="110" y="84"/>
                    <a:pt x="113" y="104"/>
                    <a:pt x="113" y="104"/>
                  </a:cubicBezTo>
                  <a:cubicBezTo>
                    <a:pt x="113" y="104"/>
                    <a:pt x="106" y="107"/>
                    <a:pt x="106" y="120"/>
                  </a:cubicBezTo>
                  <a:cubicBezTo>
                    <a:pt x="109" y="154"/>
                    <a:pt x="122" y="140"/>
                    <a:pt x="125" y="154"/>
                  </a:cubicBezTo>
                  <a:cubicBezTo>
                    <a:pt x="131" y="190"/>
                    <a:pt x="146" y="184"/>
                    <a:pt x="146" y="203"/>
                  </a:cubicBezTo>
                  <a:cubicBezTo>
                    <a:pt x="146" y="236"/>
                    <a:pt x="131" y="251"/>
                    <a:pt x="81" y="269"/>
                  </a:cubicBezTo>
                  <a:cubicBezTo>
                    <a:pt x="32" y="287"/>
                    <a:pt x="0" y="305"/>
                    <a:pt x="0" y="318"/>
                  </a:cubicBezTo>
                  <a:cubicBezTo>
                    <a:pt x="0" y="330"/>
                    <a:pt x="0" y="360"/>
                    <a:pt x="0" y="360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376" y="360"/>
                    <a:pt x="376" y="360"/>
                    <a:pt x="376" y="360"/>
                  </a:cubicBezTo>
                  <a:cubicBezTo>
                    <a:pt x="376" y="360"/>
                    <a:pt x="376" y="330"/>
                    <a:pt x="376" y="318"/>
                  </a:cubicBezTo>
                  <a:cubicBezTo>
                    <a:pt x="376" y="305"/>
                    <a:pt x="344" y="287"/>
                    <a:pt x="294" y="269"/>
                  </a:cubicBezTo>
                  <a:close/>
                </a:path>
              </a:pathLst>
            </a:custGeom>
            <a:solidFill>
              <a:srgbClr val="FCFCF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000" dirty="0"/>
            </a:p>
          </p:txBody>
        </p:sp>
      </p:grpSp>
      <p:sp>
        <p:nvSpPr>
          <p:cNvPr id="90" name="Freeform 6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8065400" y="1359509"/>
            <a:ext cx="435945" cy="495064"/>
          </a:xfrm>
          <a:custGeom>
            <a:avLst/>
            <a:gdLst>
              <a:gd name="T0" fmla="*/ 294 w 376"/>
              <a:gd name="T1" fmla="*/ 269 h 360"/>
              <a:gd name="T2" fmla="*/ 229 w 376"/>
              <a:gd name="T3" fmla="*/ 203 h 360"/>
              <a:gd name="T4" fmla="*/ 251 w 376"/>
              <a:gd name="T5" fmla="*/ 154 h 360"/>
              <a:gd name="T6" fmla="*/ 269 w 376"/>
              <a:gd name="T7" fmla="*/ 120 h 360"/>
              <a:gd name="T8" fmla="*/ 262 w 376"/>
              <a:gd name="T9" fmla="*/ 104 h 360"/>
              <a:gd name="T10" fmla="*/ 267 w 376"/>
              <a:gd name="T11" fmla="*/ 68 h 360"/>
              <a:gd name="T12" fmla="*/ 188 w 376"/>
              <a:gd name="T13" fmla="*/ 0 h 360"/>
              <a:gd name="T14" fmla="*/ 108 w 376"/>
              <a:gd name="T15" fmla="*/ 68 h 360"/>
              <a:gd name="T16" fmla="*/ 113 w 376"/>
              <a:gd name="T17" fmla="*/ 104 h 360"/>
              <a:gd name="T18" fmla="*/ 106 w 376"/>
              <a:gd name="T19" fmla="*/ 120 h 360"/>
              <a:gd name="T20" fmla="*/ 125 w 376"/>
              <a:gd name="T21" fmla="*/ 154 h 360"/>
              <a:gd name="T22" fmla="*/ 146 w 376"/>
              <a:gd name="T23" fmla="*/ 203 h 360"/>
              <a:gd name="T24" fmla="*/ 81 w 376"/>
              <a:gd name="T25" fmla="*/ 269 h 360"/>
              <a:gd name="T26" fmla="*/ 0 w 376"/>
              <a:gd name="T27" fmla="*/ 318 h 360"/>
              <a:gd name="T28" fmla="*/ 0 w 376"/>
              <a:gd name="T29" fmla="*/ 360 h 360"/>
              <a:gd name="T30" fmla="*/ 188 w 376"/>
              <a:gd name="T31" fmla="*/ 360 h 360"/>
              <a:gd name="T32" fmla="*/ 376 w 376"/>
              <a:gd name="T33" fmla="*/ 360 h 360"/>
              <a:gd name="T34" fmla="*/ 376 w 376"/>
              <a:gd name="T35" fmla="*/ 318 h 360"/>
              <a:gd name="T36" fmla="*/ 294 w 376"/>
              <a:gd name="T37" fmla="*/ 269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76" h="360">
                <a:moveTo>
                  <a:pt x="294" y="269"/>
                </a:moveTo>
                <a:cubicBezTo>
                  <a:pt x="245" y="251"/>
                  <a:pt x="229" y="236"/>
                  <a:pt x="229" y="203"/>
                </a:cubicBezTo>
                <a:cubicBezTo>
                  <a:pt x="229" y="184"/>
                  <a:pt x="244" y="190"/>
                  <a:pt x="251" y="154"/>
                </a:cubicBezTo>
                <a:cubicBezTo>
                  <a:pt x="254" y="140"/>
                  <a:pt x="267" y="154"/>
                  <a:pt x="269" y="120"/>
                </a:cubicBezTo>
                <a:cubicBezTo>
                  <a:pt x="269" y="107"/>
                  <a:pt x="262" y="104"/>
                  <a:pt x="262" y="104"/>
                </a:cubicBezTo>
                <a:cubicBezTo>
                  <a:pt x="262" y="104"/>
                  <a:pt x="266" y="84"/>
                  <a:pt x="267" y="68"/>
                </a:cubicBezTo>
                <a:cubicBezTo>
                  <a:pt x="269" y="49"/>
                  <a:pt x="256" y="0"/>
                  <a:pt x="188" y="0"/>
                </a:cubicBezTo>
                <a:cubicBezTo>
                  <a:pt x="119" y="0"/>
                  <a:pt x="107" y="49"/>
                  <a:pt x="108" y="68"/>
                </a:cubicBezTo>
                <a:cubicBezTo>
                  <a:pt x="110" y="84"/>
                  <a:pt x="113" y="104"/>
                  <a:pt x="113" y="104"/>
                </a:cubicBezTo>
                <a:cubicBezTo>
                  <a:pt x="113" y="104"/>
                  <a:pt x="106" y="107"/>
                  <a:pt x="106" y="120"/>
                </a:cubicBezTo>
                <a:cubicBezTo>
                  <a:pt x="109" y="154"/>
                  <a:pt x="122" y="140"/>
                  <a:pt x="125" y="154"/>
                </a:cubicBezTo>
                <a:cubicBezTo>
                  <a:pt x="131" y="190"/>
                  <a:pt x="146" y="184"/>
                  <a:pt x="146" y="203"/>
                </a:cubicBezTo>
                <a:cubicBezTo>
                  <a:pt x="146" y="236"/>
                  <a:pt x="131" y="251"/>
                  <a:pt x="81" y="269"/>
                </a:cubicBezTo>
                <a:cubicBezTo>
                  <a:pt x="32" y="287"/>
                  <a:pt x="0" y="305"/>
                  <a:pt x="0" y="318"/>
                </a:cubicBezTo>
                <a:cubicBezTo>
                  <a:pt x="0" y="330"/>
                  <a:pt x="0" y="360"/>
                  <a:pt x="0" y="360"/>
                </a:cubicBezTo>
                <a:cubicBezTo>
                  <a:pt x="188" y="360"/>
                  <a:pt x="188" y="360"/>
                  <a:pt x="188" y="360"/>
                </a:cubicBezTo>
                <a:cubicBezTo>
                  <a:pt x="376" y="360"/>
                  <a:pt x="376" y="360"/>
                  <a:pt x="376" y="360"/>
                </a:cubicBezTo>
                <a:cubicBezTo>
                  <a:pt x="376" y="360"/>
                  <a:pt x="376" y="330"/>
                  <a:pt x="376" y="318"/>
                </a:cubicBezTo>
                <a:cubicBezTo>
                  <a:pt x="376" y="305"/>
                  <a:pt x="344" y="287"/>
                  <a:pt x="294" y="269"/>
                </a:cubicBezTo>
                <a:close/>
              </a:path>
            </a:pathLst>
          </a:custGeom>
          <a:solidFill>
            <a:srgbClr val="FCFCFC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000" dirty="0"/>
          </a:p>
        </p:txBody>
      </p:sp>
      <p:sp>
        <p:nvSpPr>
          <p:cNvPr id="91" name="Freeform 6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1896153" y="4467557"/>
            <a:ext cx="311367" cy="353596"/>
          </a:xfrm>
          <a:custGeom>
            <a:avLst/>
            <a:gdLst>
              <a:gd name="T0" fmla="*/ 294 w 376"/>
              <a:gd name="T1" fmla="*/ 269 h 360"/>
              <a:gd name="T2" fmla="*/ 229 w 376"/>
              <a:gd name="T3" fmla="*/ 203 h 360"/>
              <a:gd name="T4" fmla="*/ 251 w 376"/>
              <a:gd name="T5" fmla="*/ 154 h 360"/>
              <a:gd name="T6" fmla="*/ 269 w 376"/>
              <a:gd name="T7" fmla="*/ 120 h 360"/>
              <a:gd name="T8" fmla="*/ 262 w 376"/>
              <a:gd name="T9" fmla="*/ 104 h 360"/>
              <a:gd name="T10" fmla="*/ 267 w 376"/>
              <a:gd name="T11" fmla="*/ 68 h 360"/>
              <a:gd name="T12" fmla="*/ 188 w 376"/>
              <a:gd name="T13" fmla="*/ 0 h 360"/>
              <a:gd name="T14" fmla="*/ 108 w 376"/>
              <a:gd name="T15" fmla="*/ 68 h 360"/>
              <a:gd name="T16" fmla="*/ 113 w 376"/>
              <a:gd name="T17" fmla="*/ 104 h 360"/>
              <a:gd name="T18" fmla="*/ 106 w 376"/>
              <a:gd name="T19" fmla="*/ 120 h 360"/>
              <a:gd name="T20" fmla="*/ 125 w 376"/>
              <a:gd name="T21" fmla="*/ 154 h 360"/>
              <a:gd name="T22" fmla="*/ 146 w 376"/>
              <a:gd name="T23" fmla="*/ 203 h 360"/>
              <a:gd name="T24" fmla="*/ 81 w 376"/>
              <a:gd name="T25" fmla="*/ 269 h 360"/>
              <a:gd name="T26" fmla="*/ 0 w 376"/>
              <a:gd name="T27" fmla="*/ 318 h 360"/>
              <a:gd name="T28" fmla="*/ 0 w 376"/>
              <a:gd name="T29" fmla="*/ 360 h 360"/>
              <a:gd name="T30" fmla="*/ 188 w 376"/>
              <a:gd name="T31" fmla="*/ 360 h 360"/>
              <a:gd name="T32" fmla="*/ 376 w 376"/>
              <a:gd name="T33" fmla="*/ 360 h 360"/>
              <a:gd name="T34" fmla="*/ 376 w 376"/>
              <a:gd name="T35" fmla="*/ 318 h 360"/>
              <a:gd name="T36" fmla="*/ 294 w 376"/>
              <a:gd name="T37" fmla="*/ 269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76" h="360">
                <a:moveTo>
                  <a:pt x="294" y="269"/>
                </a:moveTo>
                <a:cubicBezTo>
                  <a:pt x="245" y="251"/>
                  <a:pt x="229" y="236"/>
                  <a:pt x="229" y="203"/>
                </a:cubicBezTo>
                <a:cubicBezTo>
                  <a:pt x="229" y="184"/>
                  <a:pt x="244" y="190"/>
                  <a:pt x="251" y="154"/>
                </a:cubicBezTo>
                <a:cubicBezTo>
                  <a:pt x="254" y="140"/>
                  <a:pt x="267" y="154"/>
                  <a:pt x="269" y="120"/>
                </a:cubicBezTo>
                <a:cubicBezTo>
                  <a:pt x="269" y="107"/>
                  <a:pt x="262" y="104"/>
                  <a:pt x="262" y="104"/>
                </a:cubicBezTo>
                <a:cubicBezTo>
                  <a:pt x="262" y="104"/>
                  <a:pt x="266" y="84"/>
                  <a:pt x="267" y="68"/>
                </a:cubicBezTo>
                <a:cubicBezTo>
                  <a:pt x="269" y="49"/>
                  <a:pt x="256" y="0"/>
                  <a:pt x="188" y="0"/>
                </a:cubicBezTo>
                <a:cubicBezTo>
                  <a:pt x="119" y="0"/>
                  <a:pt x="107" y="49"/>
                  <a:pt x="108" y="68"/>
                </a:cubicBezTo>
                <a:cubicBezTo>
                  <a:pt x="110" y="84"/>
                  <a:pt x="113" y="104"/>
                  <a:pt x="113" y="104"/>
                </a:cubicBezTo>
                <a:cubicBezTo>
                  <a:pt x="113" y="104"/>
                  <a:pt x="106" y="107"/>
                  <a:pt x="106" y="120"/>
                </a:cubicBezTo>
                <a:cubicBezTo>
                  <a:pt x="109" y="154"/>
                  <a:pt x="122" y="140"/>
                  <a:pt x="125" y="154"/>
                </a:cubicBezTo>
                <a:cubicBezTo>
                  <a:pt x="131" y="190"/>
                  <a:pt x="146" y="184"/>
                  <a:pt x="146" y="203"/>
                </a:cubicBezTo>
                <a:cubicBezTo>
                  <a:pt x="146" y="236"/>
                  <a:pt x="131" y="251"/>
                  <a:pt x="81" y="269"/>
                </a:cubicBezTo>
                <a:cubicBezTo>
                  <a:pt x="32" y="287"/>
                  <a:pt x="0" y="305"/>
                  <a:pt x="0" y="318"/>
                </a:cubicBezTo>
                <a:cubicBezTo>
                  <a:pt x="0" y="330"/>
                  <a:pt x="0" y="360"/>
                  <a:pt x="0" y="360"/>
                </a:cubicBezTo>
                <a:cubicBezTo>
                  <a:pt x="188" y="360"/>
                  <a:pt x="188" y="360"/>
                  <a:pt x="188" y="360"/>
                </a:cubicBezTo>
                <a:cubicBezTo>
                  <a:pt x="376" y="360"/>
                  <a:pt x="376" y="360"/>
                  <a:pt x="376" y="360"/>
                </a:cubicBezTo>
                <a:cubicBezTo>
                  <a:pt x="376" y="360"/>
                  <a:pt x="376" y="330"/>
                  <a:pt x="376" y="318"/>
                </a:cubicBezTo>
                <a:cubicBezTo>
                  <a:pt x="376" y="305"/>
                  <a:pt x="344" y="287"/>
                  <a:pt x="294" y="269"/>
                </a:cubicBezTo>
                <a:close/>
              </a:path>
            </a:pathLst>
          </a:custGeom>
          <a:solidFill>
            <a:srgbClr val="FCFCFC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000" dirty="0"/>
          </a:p>
        </p:txBody>
      </p:sp>
      <p:sp>
        <p:nvSpPr>
          <p:cNvPr id="72" name="Title 13"/>
          <p:cNvSpPr txBox="1"/>
          <p:nvPr/>
        </p:nvSpPr>
        <p:spPr>
          <a:xfrm>
            <a:off x="317110" y="626757"/>
            <a:ext cx="1295400" cy="3683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研究现状</a:t>
            </a:r>
            <a:endParaRPr lang="en-US" sz="1400" b="1" dirty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cxnSp>
        <p:nvCxnSpPr>
          <p:cNvPr id="73" name="Straight Connector 3"/>
          <p:cNvCxnSpPr/>
          <p:nvPr/>
        </p:nvCxnSpPr>
        <p:spPr>
          <a:xfrm flipH="1" flipV="1">
            <a:off x="4355228" y="3330066"/>
            <a:ext cx="1348380" cy="821676"/>
          </a:xfrm>
          <a:prstGeom prst="line">
            <a:avLst/>
          </a:prstGeom>
          <a:ln w="9525" cap="rnd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3"/>
          <p:cNvCxnSpPr/>
          <p:nvPr/>
        </p:nvCxnSpPr>
        <p:spPr>
          <a:xfrm flipH="1">
            <a:off x="7141928" y="2074512"/>
            <a:ext cx="1129567" cy="2077230"/>
          </a:xfrm>
          <a:prstGeom prst="line">
            <a:avLst/>
          </a:prstGeom>
          <a:ln w="9525" cap="rnd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3"/>
          <p:cNvCxnSpPr/>
          <p:nvPr/>
        </p:nvCxnSpPr>
        <p:spPr>
          <a:xfrm flipH="1" flipV="1">
            <a:off x="8579545" y="1946690"/>
            <a:ext cx="1892615" cy="384167"/>
          </a:xfrm>
          <a:prstGeom prst="line">
            <a:avLst/>
          </a:prstGeom>
          <a:ln w="9525" cap="rnd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2"/>
          <p:cNvSpPr txBox="1"/>
          <p:nvPr/>
        </p:nvSpPr>
        <p:spPr>
          <a:xfrm>
            <a:off x="9378709" y="4932585"/>
            <a:ext cx="2031859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urabitur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ementum posuere pretium. Quisque nibh dolor, dignissim ac dignissim ut, luctus ac urna.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tincidun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.</a:t>
            </a:r>
          </a:p>
        </p:txBody>
      </p:sp>
      <p:sp>
        <p:nvSpPr>
          <p:cNvPr id="88" name="Content Placeholder 2"/>
          <p:cNvSpPr txBox="1"/>
          <p:nvPr/>
        </p:nvSpPr>
        <p:spPr>
          <a:xfrm>
            <a:off x="403690" y="1240959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5" name="Title 13"/>
          <p:cNvSpPr txBox="1"/>
          <p:nvPr/>
        </p:nvSpPr>
        <p:spPr>
          <a:xfrm>
            <a:off x="8207125" y="2256551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B</a:t>
            </a:r>
            <a:endParaRPr lang="en-US" sz="1400" dirty="0">
              <a:solidFill>
                <a:schemeClr val="tx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7" name="Title 13"/>
          <p:cNvSpPr txBox="1"/>
          <p:nvPr/>
        </p:nvSpPr>
        <p:spPr>
          <a:xfrm>
            <a:off x="10472051" y="2761774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B</a:t>
            </a:r>
            <a:endParaRPr lang="en-US" sz="1400" dirty="0">
              <a:solidFill>
                <a:schemeClr val="tx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8" name="Title 13"/>
          <p:cNvSpPr txBox="1"/>
          <p:nvPr/>
        </p:nvSpPr>
        <p:spPr>
          <a:xfrm>
            <a:off x="1612510" y="5040210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B</a:t>
            </a:r>
            <a:endParaRPr lang="en-US" sz="1400" dirty="0">
              <a:solidFill>
                <a:schemeClr val="tx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9" name="Title 13"/>
          <p:cNvSpPr txBox="1"/>
          <p:nvPr/>
        </p:nvSpPr>
        <p:spPr>
          <a:xfrm>
            <a:off x="7369945" y="5132059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B</a:t>
            </a:r>
            <a:endParaRPr lang="en-US" sz="1400" dirty="0">
              <a:solidFill>
                <a:schemeClr val="tx1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41" name="Freeform 4"/>
          <p:cNvSpPr/>
          <p:nvPr/>
        </p:nvSpPr>
        <p:spPr bwMode="auto">
          <a:xfrm rot="12279142" flipH="1" flipV="1">
            <a:off x="519565" y="417083"/>
            <a:ext cx="675668" cy="634366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8" name="Freeform 4"/>
          <p:cNvSpPr/>
          <p:nvPr/>
        </p:nvSpPr>
        <p:spPr bwMode="auto">
          <a:xfrm rot="12279142" flipH="1" flipV="1">
            <a:off x="9326353" y="4230280"/>
            <a:ext cx="2385896" cy="1995956"/>
          </a:xfrm>
          <a:prstGeom prst="pent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4"/>
          <p:cNvSpPr/>
          <p:nvPr/>
        </p:nvSpPr>
        <p:spPr bwMode="auto">
          <a:xfrm rot="12279142" flipH="1" flipV="1">
            <a:off x="1161961" y="2198118"/>
            <a:ext cx="675668" cy="634366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9" name="Freeform 4"/>
          <p:cNvSpPr/>
          <p:nvPr/>
        </p:nvSpPr>
        <p:spPr bwMode="auto">
          <a:xfrm rot="12279142" flipH="1" flipV="1">
            <a:off x="7290639" y="2434627"/>
            <a:ext cx="4029513" cy="3501226"/>
          </a:xfrm>
          <a:prstGeom prst="pent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66" name="Freeform 4"/>
          <p:cNvSpPr/>
          <p:nvPr/>
        </p:nvSpPr>
        <p:spPr bwMode="auto">
          <a:xfrm rot="4499668" flipH="1" flipV="1">
            <a:off x="4082429" y="895957"/>
            <a:ext cx="4689228" cy="4448665"/>
          </a:xfrm>
          <a:prstGeom prst="pentagon">
            <a:avLst/>
          </a:prstGeom>
          <a:noFill/>
          <a:ln w="28575">
            <a:solidFill>
              <a:schemeClr val="bg2">
                <a:lumMod val="75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Freeform 4"/>
          <p:cNvSpPr/>
          <p:nvPr/>
        </p:nvSpPr>
        <p:spPr bwMode="auto">
          <a:xfrm rot="6985901" flipH="1" flipV="1">
            <a:off x="5293633" y="603130"/>
            <a:ext cx="5306553" cy="5034320"/>
          </a:xfrm>
          <a:prstGeom prst="pentagon">
            <a:avLst/>
          </a:prstGeom>
          <a:solidFill>
            <a:schemeClr val="accent1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3" name="Content Placeholder 2"/>
          <p:cNvSpPr txBox="1"/>
          <p:nvPr/>
        </p:nvSpPr>
        <p:spPr>
          <a:xfrm>
            <a:off x="6113597" y="2424271"/>
            <a:ext cx="3816424" cy="20021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40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主题句简单句</a:t>
            </a:r>
            <a:r>
              <a:rPr lang="zh-CN" altLang="en-US" sz="40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呈现本页的</a:t>
            </a:r>
            <a:r>
              <a:rPr lang="zh-CN" altLang="en-US" sz="40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40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65" name="Content Placeholder 2"/>
          <p:cNvSpPr txBox="1"/>
          <p:nvPr/>
        </p:nvSpPr>
        <p:spPr>
          <a:xfrm>
            <a:off x="1261513" y="3044037"/>
            <a:ext cx="2031859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err="1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urabitur</a:t>
            </a:r>
            <a:r>
              <a:rPr lang="en-US" sz="1200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ementum posuere pretium. Quisque nibh dolor, dignissim ac dignissim ut, luctus ac urna. </a:t>
            </a:r>
            <a:r>
              <a:rPr lang="en-US" sz="1200" dirty="0" err="1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tincidunt</a:t>
            </a:r>
            <a:r>
              <a:rPr lang="en-US" sz="1200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.</a:t>
            </a:r>
          </a:p>
        </p:txBody>
      </p:sp>
      <p:sp>
        <p:nvSpPr>
          <p:cNvPr id="20" name="Title 13"/>
          <p:cNvSpPr txBox="1"/>
          <p:nvPr/>
        </p:nvSpPr>
        <p:spPr>
          <a:xfrm>
            <a:off x="1060452" y="2331151"/>
            <a:ext cx="1295400" cy="3683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800" b="1" dirty="0" smtClean="0">
                <a:solidFill>
                  <a:schemeClr val="tx2"/>
                </a:solidFill>
                <a:latin typeface="微软雅黑" panose="020B0503020204020204" charset="-122"/>
                <a:ea typeface="微软雅黑" panose="020B0503020204020204" charset="-122"/>
                <a:sym typeface="Arial" panose="020B0604020202020204"/>
              </a:rPr>
              <a:t>研究目的</a:t>
            </a:r>
            <a:endParaRPr lang="en-US" sz="1800" b="1" dirty="0">
              <a:solidFill>
                <a:schemeClr val="tx2"/>
              </a:solidFill>
              <a:latin typeface="微软雅黑" panose="020B0503020204020204" charset="-122"/>
              <a:ea typeface="微软雅黑" panose="020B0503020204020204" charset="-122"/>
              <a:sym typeface="Arial" panose="020B0604020202020204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1177733" y="2699451"/>
            <a:ext cx="0" cy="1726994"/>
          </a:xfrm>
          <a:prstGeom prst="line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</p:cxnSp>
      <p:cxnSp>
        <p:nvCxnSpPr>
          <p:cNvPr id="25" name="直接连接符 24"/>
          <p:cNvCxnSpPr>
            <a:stCxn id="21" idx="2"/>
          </p:cNvCxnSpPr>
          <p:nvPr/>
        </p:nvCxnSpPr>
        <p:spPr>
          <a:xfrm flipH="1">
            <a:off x="-25400" y="2716483"/>
            <a:ext cx="1203133" cy="14017"/>
          </a:xfrm>
          <a:prstGeom prst="line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"/>
          <p:cNvSpPr/>
          <p:nvPr/>
        </p:nvSpPr>
        <p:spPr bwMode="auto">
          <a:xfrm rot="10800000" flipH="1" flipV="1">
            <a:off x="-30223" y="1406214"/>
            <a:ext cx="12192000" cy="3941429"/>
          </a:xfrm>
          <a:prstGeom prst="hexagon">
            <a:avLst/>
          </a:prstGeom>
          <a:solidFill>
            <a:schemeClr val="accent1">
              <a:alpha val="20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Title 13"/>
          <p:cNvSpPr txBox="1"/>
          <p:nvPr/>
        </p:nvSpPr>
        <p:spPr>
          <a:xfrm>
            <a:off x="1441906" y="2842328"/>
            <a:ext cx="1553551" cy="1224136"/>
          </a:xfrm>
          <a:prstGeom prst="hexagon">
            <a:avLst/>
          </a:prstGeom>
          <a:solidFill>
            <a:schemeClr val="accent1">
              <a:alpha val="82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8800" b="1" dirty="0" smtClean="0">
                <a:solidFill>
                  <a:schemeClr val="bg2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Arial" panose="020B0604020202020204"/>
              </a:rPr>
              <a:t>2</a:t>
            </a:r>
            <a:endParaRPr lang="en-US" sz="8800" b="1" dirty="0">
              <a:solidFill>
                <a:schemeClr val="bg2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19" name="Content Placeholder 2"/>
          <p:cNvSpPr txBox="1"/>
          <p:nvPr/>
        </p:nvSpPr>
        <p:spPr>
          <a:xfrm>
            <a:off x="4694121" y="2960012"/>
            <a:ext cx="2160240" cy="7671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b="1" dirty="0">
                <a:solidFill>
                  <a:schemeClr val="bg2">
                    <a:alpha val="6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Aharoni" panose="02010803020104030203" pitchFamily="2" charset="-79"/>
                <a:sym typeface="Arial" panose="020B0604020202020204"/>
              </a:rPr>
              <a:t>实验</a:t>
            </a:r>
            <a:endParaRPr lang="en-US" sz="2000" b="1" dirty="0">
              <a:solidFill>
                <a:schemeClr val="bg2">
                  <a:alpha val="65000"/>
                </a:schemeClr>
              </a:solidFill>
              <a:latin typeface="微软雅黑" panose="020B0503020204020204" charset="-122"/>
              <a:ea typeface="微软雅黑" panose="020B0503020204020204" charset="-122"/>
              <a:cs typeface="Aharoni" panose="02010803020104030203" pitchFamily="2" charset="-79"/>
              <a:sym typeface="Arial" panose="020B0604020202020204"/>
            </a:endParaRPr>
          </a:p>
        </p:txBody>
      </p:sp>
      <p:sp>
        <p:nvSpPr>
          <p:cNvPr id="20" name="Title 13"/>
          <p:cNvSpPr txBox="1"/>
          <p:nvPr/>
        </p:nvSpPr>
        <p:spPr>
          <a:xfrm>
            <a:off x="4131389" y="1772816"/>
            <a:ext cx="5602212" cy="317851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r" fontAlgn="base"/>
            <a:r>
              <a:rPr lang="zh-CN" altLang="en-US" sz="15000" b="1" dirty="0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方案</a:t>
            </a:r>
            <a:endParaRPr lang="en-US" sz="15000" b="1" dirty="0">
              <a:solidFill>
                <a:schemeClr val="bg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1" name="Freeform 4"/>
          <p:cNvSpPr/>
          <p:nvPr/>
        </p:nvSpPr>
        <p:spPr bwMode="auto">
          <a:xfrm rot="10800000" flipH="1" flipV="1">
            <a:off x="4626284" y="2960013"/>
            <a:ext cx="847606" cy="804123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Freeform 4"/>
          <p:cNvSpPr/>
          <p:nvPr/>
        </p:nvSpPr>
        <p:spPr bwMode="auto">
          <a:xfrm rot="4880796" flipH="1" flipV="1">
            <a:off x="1505750" y="2768894"/>
            <a:ext cx="1445141" cy="1371004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4" name="Freeform 4"/>
          <p:cNvSpPr/>
          <p:nvPr/>
        </p:nvSpPr>
        <p:spPr bwMode="auto">
          <a:xfrm rot="4880796" flipH="1" flipV="1">
            <a:off x="1230376" y="1131009"/>
            <a:ext cx="580174" cy="550411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5" name="六边形 14"/>
          <p:cNvSpPr/>
          <p:nvPr/>
        </p:nvSpPr>
        <p:spPr>
          <a:xfrm>
            <a:off x="2428272" y="189588"/>
            <a:ext cx="2176174" cy="187909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Freeform 4"/>
          <p:cNvSpPr/>
          <p:nvPr/>
        </p:nvSpPr>
        <p:spPr bwMode="auto">
          <a:xfrm rot="10800000" flipH="1" flipV="1">
            <a:off x="10056440" y="2960013"/>
            <a:ext cx="847606" cy="804123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Freeform 207"/>
          <p:cNvSpPr/>
          <p:nvPr/>
        </p:nvSpPr>
        <p:spPr bwMode="auto">
          <a:xfrm rot="5400000">
            <a:off x="10362646" y="3288951"/>
            <a:ext cx="287064" cy="292982"/>
          </a:xfrm>
          <a:custGeom>
            <a:avLst/>
            <a:gdLst>
              <a:gd name="T0" fmla="*/ 0 w 41"/>
              <a:gd name="T1" fmla="*/ 41 h 42"/>
              <a:gd name="T2" fmla="*/ 0 w 41"/>
              <a:gd name="T3" fmla="*/ 2 h 42"/>
              <a:gd name="T4" fmla="*/ 1 w 41"/>
              <a:gd name="T5" fmla="*/ 1 h 42"/>
              <a:gd name="T6" fmla="*/ 20 w 41"/>
              <a:gd name="T7" fmla="*/ 20 h 42"/>
              <a:gd name="T8" fmla="*/ 21 w 41"/>
              <a:gd name="T9" fmla="*/ 21 h 42"/>
              <a:gd name="T10" fmla="*/ 21 w 41"/>
              <a:gd name="T11" fmla="*/ 2 h 42"/>
              <a:gd name="T12" fmla="*/ 22 w 41"/>
              <a:gd name="T13" fmla="*/ 1 h 42"/>
              <a:gd name="T14" fmla="*/ 41 w 41"/>
              <a:gd name="T15" fmla="*/ 20 h 42"/>
              <a:gd name="T16" fmla="*/ 41 w 41"/>
              <a:gd name="T17" fmla="*/ 22 h 42"/>
              <a:gd name="T18" fmla="*/ 22 w 41"/>
              <a:gd name="T19" fmla="*/ 41 h 42"/>
              <a:gd name="T20" fmla="*/ 21 w 41"/>
              <a:gd name="T21" fmla="*/ 41 h 42"/>
              <a:gd name="T22" fmla="*/ 21 w 41"/>
              <a:gd name="T23" fmla="*/ 22 h 42"/>
              <a:gd name="T24" fmla="*/ 20 w 41"/>
              <a:gd name="T25" fmla="*/ 22 h 42"/>
              <a:gd name="T26" fmla="*/ 1 w 41"/>
              <a:gd name="T27" fmla="*/ 41 h 42"/>
              <a:gd name="T28" fmla="*/ 0 w 41"/>
              <a:gd name="T29" fmla="*/ 4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1" h="42">
                <a:moveTo>
                  <a:pt x="0" y="41"/>
                </a:move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1" y="21"/>
                </a:cubicBezTo>
                <a:cubicBezTo>
                  <a:pt x="21" y="2"/>
                  <a:pt x="21" y="2"/>
                  <a:pt x="21" y="2"/>
                </a:cubicBezTo>
                <a:cubicBezTo>
                  <a:pt x="21" y="1"/>
                  <a:pt x="21" y="0"/>
                  <a:pt x="22" y="1"/>
                </a:cubicBezTo>
                <a:cubicBezTo>
                  <a:pt x="41" y="20"/>
                  <a:pt x="41" y="20"/>
                  <a:pt x="41" y="20"/>
                </a:cubicBezTo>
                <a:cubicBezTo>
                  <a:pt x="41" y="21"/>
                  <a:pt x="41" y="22"/>
                  <a:pt x="41" y="22"/>
                </a:cubicBezTo>
                <a:cubicBezTo>
                  <a:pt x="22" y="41"/>
                  <a:pt x="22" y="41"/>
                  <a:pt x="22" y="41"/>
                </a:cubicBezTo>
                <a:cubicBezTo>
                  <a:pt x="21" y="42"/>
                  <a:pt x="21" y="42"/>
                  <a:pt x="21" y="41"/>
                </a:cubicBezTo>
                <a:cubicBezTo>
                  <a:pt x="21" y="22"/>
                  <a:pt x="21" y="22"/>
                  <a:pt x="21" y="22"/>
                </a:cubicBezTo>
                <a:cubicBezTo>
                  <a:pt x="20" y="22"/>
                  <a:pt x="20" y="22"/>
                  <a:pt x="20" y="22"/>
                </a:cubicBezTo>
                <a:cubicBezTo>
                  <a:pt x="1" y="41"/>
                  <a:pt x="1" y="41"/>
                  <a:pt x="1" y="41"/>
                </a:cubicBezTo>
                <a:cubicBezTo>
                  <a:pt x="1" y="42"/>
                  <a:pt x="0" y="42"/>
                  <a:pt x="0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/>
          </a:p>
        </p:txBody>
      </p:sp>
      <p:sp>
        <p:nvSpPr>
          <p:cNvPr id="18" name="Freeform 4"/>
          <p:cNvSpPr/>
          <p:nvPr/>
        </p:nvSpPr>
        <p:spPr bwMode="auto">
          <a:xfrm rot="3306676" flipH="1" flipV="1">
            <a:off x="11324691" y="6285456"/>
            <a:ext cx="1088114" cy="850917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六边形 38"/>
          <p:cNvSpPr/>
          <p:nvPr/>
        </p:nvSpPr>
        <p:spPr>
          <a:xfrm>
            <a:off x="5247726" y="2698232"/>
            <a:ext cx="3168904" cy="2736304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1" name="Content Placeholder 2"/>
          <p:cNvSpPr txBox="1"/>
          <p:nvPr/>
        </p:nvSpPr>
        <p:spPr>
          <a:xfrm>
            <a:off x="566556" y="1735253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115" name="Content Placeholder 2"/>
          <p:cNvSpPr txBox="1"/>
          <p:nvPr/>
        </p:nvSpPr>
        <p:spPr>
          <a:xfrm>
            <a:off x="616625" y="3618574"/>
            <a:ext cx="2031859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urabitur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ementum posuere pretium. Quisque nibh dolor, dignissim ac dignissim ut, luctus ac urna.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tincidun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.</a:t>
            </a:r>
          </a:p>
        </p:txBody>
      </p:sp>
      <p:graphicFrame>
        <p:nvGraphicFramePr>
          <p:cNvPr id="121" name="图表 120"/>
          <p:cNvGraphicFramePr/>
          <p:nvPr/>
        </p:nvGraphicFramePr>
        <p:xfrm>
          <a:off x="8241143" y="2145319"/>
          <a:ext cx="3055515" cy="1261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六边形 16"/>
          <p:cNvSpPr/>
          <p:nvPr/>
        </p:nvSpPr>
        <p:spPr>
          <a:xfrm>
            <a:off x="3553159" y="4365104"/>
            <a:ext cx="1925076" cy="166227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Content Placeholder 2"/>
          <p:cNvSpPr txBox="1"/>
          <p:nvPr/>
        </p:nvSpPr>
        <p:spPr>
          <a:xfrm>
            <a:off x="3834310" y="5127222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2">
                    <a:lumMod val="9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bg2">
                    <a:lumMod val="9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 ipsum dolor sit amet, </a:t>
            </a:r>
          </a:p>
        </p:txBody>
      </p:sp>
      <p:sp>
        <p:nvSpPr>
          <p:cNvPr id="19" name="Content Placeholder 2"/>
          <p:cNvSpPr txBox="1"/>
          <p:nvPr/>
        </p:nvSpPr>
        <p:spPr>
          <a:xfrm>
            <a:off x="4218888" y="4563924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01</a:t>
            </a:r>
            <a:endParaRPr lang="en-US" sz="2800" dirty="0">
              <a:solidFill>
                <a:schemeClr val="bg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26" name="Freeform 4"/>
          <p:cNvSpPr/>
          <p:nvPr/>
        </p:nvSpPr>
        <p:spPr bwMode="auto">
          <a:xfrm rot="10800000" flipH="1" flipV="1">
            <a:off x="7976131" y="1920091"/>
            <a:ext cx="3866713" cy="1869246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Freeform 605"/>
          <p:cNvSpPr>
            <a:spLocks noEditPoints="1"/>
          </p:cNvSpPr>
          <p:nvPr/>
        </p:nvSpPr>
        <p:spPr bwMode="auto">
          <a:xfrm>
            <a:off x="6200575" y="3035588"/>
            <a:ext cx="1366446" cy="1829323"/>
          </a:xfrm>
          <a:custGeom>
            <a:avLst/>
            <a:gdLst/>
            <a:ahLst/>
            <a:cxnLst>
              <a:cxn ang="0">
                <a:pos x="3" y="33"/>
              </a:cxn>
              <a:cxn ang="0">
                <a:pos x="1" y="25"/>
              </a:cxn>
              <a:cxn ang="0">
                <a:pos x="0" y="21"/>
              </a:cxn>
              <a:cxn ang="0">
                <a:pos x="2" y="17"/>
              </a:cxn>
              <a:cxn ang="0">
                <a:pos x="10" y="8"/>
              </a:cxn>
              <a:cxn ang="0">
                <a:pos x="8" y="4"/>
              </a:cxn>
              <a:cxn ang="0">
                <a:pos x="7" y="4"/>
              </a:cxn>
              <a:cxn ang="0">
                <a:pos x="7" y="3"/>
              </a:cxn>
              <a:cxn ang="0">
                <a:pos x="12" y="1"/>
              </a:cxn>
              <a:cxn ang="0">
                <a:pos x="13" y="0"/>
              </a:cxn>
              <a:cxn ang="0">
                <a:pos x="14" y="2"/>
              </a:cxn>
              <a:cxn ang="0">
                <a:pos x="13" y="3"/>
              </a:cxn>
              <a:cxn ang="0">
                <a:pos x="20" y="20"/>
              </a:cxn>
              <a:cxn ang="0">
                <a:pos x="19" y="21"/>
              </a:cxn>
              <a:cxn ang="0">
                <a:pos x="19" y="22"/>
              </a:cxn>
              <a:cxn ang="0">
                <a:pos x="17" y="22"/>
              </a:cxn>
              <a:cxn ang="0">
                <a:pos x="16" y="21"/>
              </a:cxn>
              <a:cxn ang="0">
                <a:pos x="15" y="21"/>
              </a:cxn>
              <a:cxn ang="0">
                <a:pos x="11" y="13"/>
              </a:cxn>
              <a:cxn ang="0">
                <a:pos x="7" y="19"/>
              </a:cxn>
              <a:cxn ang="0">
                <a:pos x="6" y="23"/>
              </a:cxn>
              <a:cxn ang="0">
                <a:pos x="11" y="32"/>
              </a:cxn>
              <a:cxn ang="0">
                <a:pos x="24" y="33"/>
              </a:cxn>
              <a:cxn ang="0">
                <a:pos x="25" y="35"/>
              </a:cxn>
              <a:cxn ang="0">
                <a:pos x="3" y="37"/>
              </a:cxn>
              <a:cxn ang="0">
                <a:pos x="1" y="34"/>
              </a:cxn>
              <a:cxn ang="0">
                <a:pos x="4" y="19"/>
              </a:cxn>
              <a:cxn ang="0">
                <a:pos x="4" y="23"/>
              </a:cxn>
              <a:cxn ang="0">
                <a:pos x="4" y="19"/>
              </a:cxn>
              <a:cxn ang="0">
                <a:pos x="24" y="22"/>
              </a:cxn>
              <a:cxn ang="0">
                <a:pos x="26" y="23"/>
              </a:cxn>
              <a:cxn ang="0">
                <a:pos x="14" y="28"/>
              </a:cxn>
              <a:cxn ang="0">
                <a:pos x="13" y="27"/>
              </a:cxn>
            </a:cxnLst>
            <a:rect l="0" t="0" r="r" b="b"/>
            <a:pathLst>
              <a:path w="26" h="37">
                <a:moveTo>
                  <a:pt x="3" y="33"/>
                </a:moveTo>
                <a:cubicBezTo>
                  <a:pt x="3" y="33"/>
                  <a:pt x="3" y="33"/>
                  <a:pt x="3" y="33"/>
                </a:cubicBezTo>
                <a:cubicBezTo>
                  <a:pt x="4" y="33"/>
                  <a:pt x="4" y="32"/>
                  <a:pt x="4" y="31"/>
                </a:cubicBezTo>
                <a:cubicBezTo>
                  <a:pt x="2" y="29"/>
                  <a:pt x="2" y="27"/>
                  <a:pt x="1" y="25"/>
                </a:cubicBezTo>
                <a:cubicBezTo>
                  <a:pt x="1" y="24"/>
                  <a:pt x="1" y="24"/>
                  <a:pt x="1" y="24"/>
                </a:cubicBezTo>
                <a:cubicBezTo>
                  <a:pt x="0" y="23"/>
                  <a:pt x="0" y="22"/>
                  <a:pt x="0" y="21"/>
                </a:cubicBezTo>
                <a:cubicBezTo>
                  <a:pt x="0" y="20"/>
                  <a:pt x="1" y="19"/>
                  <a:pt x="2" y="18"/>
                </a:cubicBezTo>
                <a:cubicBezTo>
                  <a:pt x="2" y="18"/>
                  <a:pt x="2" y="18"/>
                  <a:pt x="2" y="17"/>
                </a:cubicBezTo>
                <a:cubicBezTo>
                  <a:pt x="3" y="14"/>
                  <a:pt x="6" y="11"/>
                  <a:pt x="10" y="9"/>
                </a:cubicBezTo>
                <a:cubicBezTo>
                  <a:pt x="10" y="8"/>
                  <a:pt x="10" y="8"/>
                  <a:pt x="10" y="8"/>
                </a:cubicBezTo>
                <a:cubicBezTo>
                  <a:pt x="9" y="4"/>
                  <a:pt x="9" y="4"/>
                  <a:pt x="9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4"/>
                  <a:pt x="8" y="4"/>
                  <a:pt x="8" y="4"/>
                </a:cubicBezTo>
                <a:cubicBezTo>
                  <a:pt x="7" y="4"/>
                  <a:pt x="7" y="4"/>
                  <a:pt x="7" y="4"/>
                </a:cubicBezTo>
                <a:cubicBezTo>
                  <a:pt x="7" y="3"/>
                  <a:pt x="7" y="3"/>
                  <a:pt x="7" y="3"/>
                </a:cubicBezTo>
                <a:cubicBezTo>
                  <a:pt x="7" y="3"/>
                  <a:pt x="7" y="3"/>
                  <a:pt x="7" y="3"/>
                </a:cubicBezTo>
                <a:cubicBezTo>
                  <a:pt x="8" y="2"/>
                  <a:pt x="8" y="2"/>
                  <a:pt x="8" y="2"/>
                </a:cubicBezTo>
                <a:cubicBezTo>
                  <a:pt x="12" y="1"/>
                  <a:pt x="12" y="1"/>
                  <a:pt x="12" y="1"/>
                </a:cubicBezTo>
                <a:cubicBezTo>
                  <a:pt x="13" y="0"/>
                  <a:pt x="13" y="0"/>
                  <a:pt x="13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14" y="2"/>
                  <a:pt x="14" y="2"/>
                </a:cubicBezTo>
                <a:cubicBezTo>
                  <a:pt x="13" y="2"/>
                  <a:pt x="13" y="2"/>
                  <a:pt x="13" y="2"/>
                </a:cubicBezTo>
                <a:cubicBezTo>
                  <a:pt x="13" y="2"/>
                  <a:pt x="13" y="2"/>
                  <a:pt x="13" y="3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19" y="20"/>
                  <a:pt x="19" y="20"/>
                  <a:pt x="19" y="21"/>
                </a:cubicBezTo>
                <a:cubicBezTo>
                  <a:pt x="19" y="21"/>
                  <a:pt x="19" y="21"/>
                  <a:pt x="19" y="21"/>
                </a:cubicBezTo>
                <a:cubicBezTo>
                  <a:pt x="20" y="22"/>
                  <a:pt x="19" y="22"/>
                  <a:pt x="19" y="22"/>
                </a:cubicBezTo>
                <a:cubicBezTo>
                  <a:pt x="18" y="23"/>
                  <a:pt x="18" y="23"/>
                  <a:pt x="18" y="23"/>
                </a:cubicBezTo>
                <a:cubicBezTo>
                  <a:pt x="17" y="23"/>
                  <a:pt x="17" y="23"/>
                  <a:pt x="17" y="22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22"/>
                  <a:pt x="16" y="21"/>
                  <a:pt x="16" y="21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22"/>
                  <a:pt x="15" y="22"/>
                  <a:pt x="15" y="21"/>
                </a:cubicBezTo>
                <a:cubicBezTo>
                  <a:pt x="12" y="13"/>
                  <a:pt x="12" y="13"/>
                  <a:pt x="12" y="13"/>
                </a:cubicBezTo>
                <a:cubicBezTo>
                  <a:pt x="12" y="13"/>
                  <a:pt x="11" y="13"/>
                  <a:pt x="11" y="13"/>
                </a:cubicBezTo>
                <a:cubicBezTo>
                  <a:pt x="9" y="14"/>
                  <a:pt x="8" y="16"/>
                  <a:pt x="7" y="18"/>
                </a:cubicBezTo>
                <a:cubicBezTo>
                  <a:pt x="7" y="19"/>
                  <a:pt x="7" y="19"/>
                  <a:pt x="7" y="19"/>
                </a:cubicBezTo>
                <a:cubicBezTo>
                  <a:pt x="7" y="20"/>
                  <a:pt x="7" y="21"/>
                  <a:pt x="7" y="21"/>
                </a:cubicBezTo>
                <a:cubicBezTo>
                  <a:pt x="7" y="22"/>
                  <a:pt x="7" y="23"/>
                  <a:pt x="6" y="23"/>
                </a:cubicBezTo>
                <a:cubicBezTo>
                  <a:pt x="6" y="24"/>
                  <a:pt x="6" y="24"/>
                  <a:pt x="6" y="25"/>
                </a:cubicBezTo>
                <a:cubicBezTo>
                  <a:pt x="6" y="28"/>
                  <a:pt x="8" y="31"/>
                  <a:pt x="11" y="32"/>
                </a:cubicBezTo>
                <a:cubicBezTo>
                  <a:pt x="11" y="32"/>
                  <a:pt x="11" y="33"/>
                  <a:pt x="12" y="33"/>
                </a:cubicBezTo>
                <a:cubicBezTo>
                  <a:pt x="24" y="33"/>
                  <a:pt x="24" y="33"/>
                  <a:pt x="24" y="33"/>
                </a:cubicBezTo>
                <a:cubicBezTo>
                  <a:pt x="25" y="33"/>
                  <a:pt x="25" y="33"/>
                  <a:pt x="25" y="34"/>
                </a:cubicBezTo>
                <a:cubicBezTo>
                  <a:pt x="25" y="35"/>
                  <a:pt x="25" y="35"/>
                  <a:pt x="25" y="35"/>
                </a:cubicBezTo>
                <a:cubicBezTo>
                  <a:pt x="25" y="36"/>
                  <a:pt x="25" y="37"/>
                  <a:pt x="24" y="37"/>
                </a:cubicBezTo>
                <a:cubicBezTo>
                  <a:pt x="3" y="37"/>
                  <a:pt x="3" y="37"/>
                  <a:pt x="3" y="37"/>
                </a:cubicBezTo>
                <a:cubicBezTo>
                  <a:pt x="2" y="37"/>
                  <a:pt x="1" y="36"/>
                  <a:pt x="1" y="35"/>
                </a:cubicBezTo>
                <a:cubicBezTo>
                  <a:pt x="1" y="34"/>
                  <a:pt x="1" y="34"/>
                  <a:pt x="1" y="34"/>
                </a:cubicBezTo>
                <a:cubicBezTo>
                  <a:pt x="1" y="33"/>
                  <a:pt x="2" y="33"/>
                  <a:pt x="3" y="33"/>
                </a:cubicBezTo>
                <a:close/>
                <a:moveTo>
                  <a:pt x="4" y="19"/>
                </a:moveTo>
                <a:cubicBezTo>
                  <a:pt x="4" y="19"/>
                  <a:pt x="5" y="20"/>
                  <a:pt x="5" y="21"/>
                </a:cubicBezTo>
                <a:cubicBezTo>
                  <a:pt x="5" y="22"/>
                  <a:pt x="4" y="23"/>
                  <a:pt x="4" y="23"/>
                </a:cubicBezTo>
                <a:cubicBezTo>
                  <a:pt x="3" y="23"/>
                  <a:pt x="2" y="22"/>
                  <a:pt x="2" y="21"/>
                </a:cubicBezTo>
                <a:cubicBezTo>
                  <a:pt x="2" y="20"/>
                  <a:pt x="3" y="19"/>
                  <a:pt x="4" y="19"/>
                </a:cubicBezTo>
                <a:close/>
                <a:moveTo>
                  <a:pt x="13" y="26"/>
                </a:moveTo>
                <a:cubicBezTo>
                  <a:pt x="24" y="22"/>
                  <a:pt x="24" y="22"/>
                  <a:pt x="24" y="22"/>
                </a:cubicBezTo>
                <a:cubicBezTo>
                  <a:pt x="25" y="21"/>
                  <a:pt x="25" y="22"/>
                  <a:pt x="25" y="22"/>
                </a:cubicBezTo>
                <a:cubicBezTo>
                  <a:pt x="26" y="23"/>
                  <a:pt x="26" y="23"/>
                  <a:pt x="26" y="23"/>
                </a:cubicBezTo>
                <a:cubicBezTo>
                  <a:pt x="26" y="23"/>
                  <a:pt x="26" y="24"/>
                  <a:pt x="25" y="24"/>
                </a:cubicBezTo>
                <a:cubicBezTo>
                  <a:pt x="14" y="28"/>
                  <a:pt x="14" y="28"/>
                  <a:pt x="14" y="28"/>
                </a:cubicBezTo>
                <a:cubicBezTo>
                  <a:pt x="14" y="29"/>
                  <a:pt x="13" y="28"/>
                  <a:pt x="13" y="28"/>
                </a:cubicBezTo>
                <a:cubicBezTo>
                  <a:pt x="13" y="27"/>
                  <a:pt x="13" y="27"/>
                  <a:pt x="13" y="27"/>
                </a:cubicBezTo>
                <a:cubicBezTo>
                  <a:pt x="13" y="27"/>
                  <a:pt x="13" y="26"/>
                  <a:pt x="13" y="26"/>
                </a:cubicBezTo>
                <a:close/>
              </a:path>
            </a:pathLst>
          </a:custGeom>
          <a:solidFill>
            <a:schemeClr val="accent2">
              <a:lumMod val="75000"/>
              <a:alpha val="56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grpSp>
        <p:nvGrpSpPr>
          <p:cNvPr id="28" name="组合 27"/>
          <p:cNvGrpSpPr/>
          <p:nvPr/>
        </p:nvGrpSpPr>
        <p:grpSpPr>
          <a:xfrm>
            <a:off x="479376" y="884886"/>
            <a:ext cx="1295400" cy="382312"/>
            <a:chOff x="623392" y="1479399"/>
            <a:chExt cx="1295400" cy="382312"/>
          </a:xfrm>
        </p:grpSpPr>
        <p:sp>
          <p:nvSpPr>
            <p:cNvPr id="29" name="六边形 28"/>
            <p:cNvSpPr/>
            <p:nvPr/>
          </p:nvSpPr>
          <p:spPr>
            <a:xfrm>
              <a:off x="807958" y="1479399"/>
              <a:ext cx="926268" cy="376927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30" name="Title 13"/>
            <p:cNvSpPr txBox="1"/>
            <p:nvPr/>
          </p:nvSpPr>
          <p:spPr>
            <a:xfrm>
              <a:off x="623392" y="1493411"/>
              <a:ext cx="1295400" cy="36830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zh-CN" altLang="en-US" sz="1400" dirty="0" smtClean="0">
                  <a:solidFill>
                    <a:schemeClr val="bg1"/>
                  </a:solidFill>
                  <a:latin typeface="幼圆" panose="02010509060101010101" pitchFamily="49" charset="-122"/>
                  <a:ea typeface="幼圆" panose="02010509060101010101" pitchFamily="49" charset="-122"/>
                  <a:sym typeface="Arial" panose="020B0604020202020204"/>
                </a:rPr>
                <a:t>研究对象</a:t>
              </a:r>
              <a:endParaRPr lang="en-US" sz="1400" dirty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  <a:sym typeface="Arial" panose="020B0604020202020204"/>
              </a:endParaRPr>
            </a:p>
          </p:txBody>
        </p:sp>
      </p:grpSp>
      <p:sp>
        <p:nvSpPr>
          <p:cNvPr id="31" name="六边形 30"/>
          <p:cNvSpPr/>
          <p:nvPr/>
        </p:nvSpPr>
        <p:spPr>
          <a:xfrm>
            <a:off x="8204661" y="4293096"/>
            <a:ext cx="1925076" cy="166227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2" name="Content Placeholder 2"/>
          <p:cNvSpPr txBox="1"/>
          <p:nvPr/>
        </p:nvSpPr>
        <p:spPr>
          <a:xfrm>
            <a:off x="8485812" y="5055214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2">
                    <a:lumMod val="9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bg2">
                    <a:lumMod val="9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 ipsum dolor sit amet, </a:t>
            </a:r>
          </a:p>
        </p:txBody>
      </p:sp>
      <p:sp>
        <p:nvSpPr>
          <p:cNvPr id="33" name="Content Placeholder 2"/>
          <p:cNvSpPr txBox="1"/>
          <p:nvPr/>
        </p:nvSpPr>
        <p:spPr>
          <a:xfrm>
            <a:off x="8870390" y="4491916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 smtClean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03</a:t>
            </a:r>
            <a:endParaRPr lang="en-US" sz="2800" dirty="0">
              <a:solidFill>
                <a:schemeClr val="bg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4" name="六边形 33"/>
          <p:cNvSpPr/>
          <p:nvPr/>
        </p:nvSpPr>
        <p:spPr>
          <a:xfrm>
            <a:off x="5846500" y="798131"/>
            <a:ext cx="1925076" cy="166227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Content Placeholder 2"/>
          <p:cNvSpPr txBox="1"/>
          <p:nvPr/>
        </p:nvSpPr>
        <p:spPr>
          <a:xfrm>
            <a:off x="6127651" y="1560249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2">
                    <a:lumMod val="9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bg2">
                    <a:lumMod val="9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 ipsum dolor sit amet, </a:t>
            </a:r>
          </a:p>
        </p:txBody>
      </p:sp>
      <p:sp>
        <p:nvSpPr>
          <p:cNvPr id="36" name="Content Placeholder 2"/>
          <p:cNvSpPr txBox="1"/>
          <p:nvPr/>
        </p:nvSpPr>
        <p:spPr>
          <a:xfrm>
            <a:off x="6512229" y="996951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>
                <a:solidFill>
                  <a:schemeClr val="bg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02</a:t>
            </a:r>
          </a:p>
        </p:txBody>
      </p:sp>
      <p:sp>
        <p:nvSpPr>
          <p:cNvPr id="38" name="Freeform 4"/>
          <p:cNvSpPr/>
          <p:nvPr/>
        </p:nvSpPr>
        <p:spPr bwMode="auto">
          <a:xfrm rot="10800000" flipH="1" flipV="1">
            <a:off x="-1111341" y="2390503"/>
            <a:ext cx="1791622" cy="1599543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4"/>
          <p:cNvSpPr/>
          <p:nvPr/>
        </p:nvSpPr>
        <p:spPr bwMode="auto">
          <a:xfrm rot="16200000" flipH="1" flipV="1">
            <a:off x="840470" y="2685622"/>
            <a:ext cx="2802586" cy="242205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4" name="Freeform 4"/>
          <p:cNvSpPr/>
          <p:nvPr/>
        </p:nvSpPr>
        <p:spPr bwMode="auto">
          <a:xfrm rot="16200000" flipH="1" flipV="1">
            <a:off x="5848980" y="2624158"/>
            <a:ext cx="2802586" cy="242205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5" name="Title 13"/>
          <p:cNvSpPr txBox="1"/>
          <p:nvPr/>
        </p:nvSpPr>
        <p:spPr>
          <a:xfrm>
            <a:off x="6869942" y="2433894"/>
            <a:ext cx="826437" cy="651199"/>
          </a:xfrm>
          <a:prstGeom prst="hexagon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2800" b="1" dirty="0" smtClean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Arial" panose="020B0604020202020204"/>
              </a:rPr>
              <a:t>3</a:t>
            </a:r>
            <a:endParaRPr lang="en-US" sz="28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48" name="Title 13"/>
          <p:cNvSpPr txBox="1"/>
          <p:nvPr/>
        </p:nvSpPr>
        <p:spPr>
          <a:xfrm>
            <a:off x="9625336" y="2495357"/>
            <a:ext cx="826437" cy="651199"/>
          </a:xfrm>
          <a:prstGeom prst="hexagon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2800" b="1" dirty="0" smtClean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Arial" panose="020B0604020202020204"/>
              </a:rPr>
              <a:t>4</a:t>
            </a:r>
            <a:endParaRPr lang="en-US" sz="28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Arial" panose="020B0604020202020204"/>
            </a:endParaRPr>
          </a:p>
        </p:txBody>
      </p:sp>
      <p:graphicFrame>
        <p:nvGraphicFramePr>
          <p:cNvPr id="19" name="对象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88" name="think-cell Slide" r:id="rId5" imgW="11430" imgH="11430" progId="">
                  <p:embed/>
                </p:oleObj>
              </mc:Choice>
              <mc:Fallback>
                <p:oleObj name="think-cell Slide" r:id="rId5" imgW="11430" imgH="11430" progId="">
                  <p:embed/>
                  <p:pic>
                    <p:nvPicPr>
                      <p:cNvPr id="0" name="图片 3911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ontent Placeholder 2"/>
          <p:cNvSpPr txBox="1"/>
          <p:nvPr/>
        </p:nvSpPr>
        <p:spPr>
          <a:xfrm>
            <a:off x="8677506" y="610246"/>
            <a:ext cx="2894766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3200" b="1" dirty="0" smtClean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简单句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grpSp>
        <p:nvGrpSpPr>
          <p:cNvPr id="72" name="组合 71"/>
          <p:cNvGrpSpPr/>
          <p:nvPr/>
        </p:nvGrpSpPr>
        <p:grpSpPr>
          <a:xfrm>
            <a:off x="732416" y="862681"/>
            <a:ext cx="1295400" cy="382835"/>
            <a:chOff x="623392" y="1479399"/>
            <a:chExt cx="1295400" cy="382835"/>
          </a:xfrm>
        </p:grpSpPr>
        <p:sp>
          <p:nvSpPr>
            <p:cNvPr id="73" name="六边形 72"/>
            <p:cNvSpPr/>
            <p:nvPr/>
          </p:nvSpPr>
          <p:spPr>
            <a:xfrm>
              <a:off x="807958" y="1479399"/>
              <a:ext cx="940786" cy="382835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74" name="Title 13"/>
            <p:cNvSpPr txBox="1"/>
            <p:nvPr/>
          </p:nvSpPr>
          <p:spPr>
            <a:xfrm>
              <a:off x="623392" y="1493411"/>
              <a:ext cx="1295400" cy="36830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幼圆" panose="02010509060101010101" pitchFamily="49" charset="-122"/>
                  <a:ea typeface="幼圆" panose="02010509060101010101" pitchFamily="49" charset="-122"/>
                  <a:sym typeface="Arial" panose="020B0604020202020204"/>
                </a:rPr>
                <a:t>实验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幼圆" panose="02010509060101010101" pitchFamily="49" charset="-122"/>
                  <a:ea typeface="幼圆" panose="02010509060101010101" pitchFamily="49" charset="-122"/>
                  <a:sym typeface="Arial" panose="020B0604020202020204"/>
                </a:rPr>
                <a:t>方案</a:t>
              </a:r>
              <a:endParaRPr lang="en-US" sz="1400" dirty="0">
                <a:solidFill>
                  <a:schemeClr val="bg1"/>
                </a:solidFill>
                <a:latin typeface="幼圆" panose="02010509060101010101" pitchFamily="49" charset="-122"/>
                <a:ea typeface="幼圆" panose="02010509060101010101" pitchFamily="49" charset="-122"/>
                <a:sym typeface="Arial" panose="020B0604020202020204"/>
              </a:endParaRPr>
            </a:p>
          </p:txBody>
        </p:sp>
      </p:grpSp>
      <p:sp>
        <p:nvSpPr>
          <p:cNvPr id="76" name="六边形 75"/>
          <p:cNvSpPr/>
          <p:nvPr/>
        </p:nvSpPr>
        <p:spPr>
          <a:xfrm>
            <a:off x="2786303" y="2276872"/>
            <a:ext cx="3919734" cy="3384635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7" name="六边形 76"/>
          <p:cNvSpPr/>
          <p:nvPr/>
        </p:nvSpPr>
        <p:spPr>
          <a:xfrm>
            <a:off x="1210068" y="3029641"/>
            <a:ext cx="2176174" cy="187909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8" name="六边形 77"/>
          <p:cNvSpPr/>
          <p:nvPr/>
        </p:nvSpPr>
        <p:spPr>
          <a:xfrm>
            <a:off x="6106098" y="2998719"/>
            <a:ext cx="2176174" cy="187909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9" name="六边形 78"/>
          <p:cNvSpPr/>
          <p:nvPr/>
        </p:nvSpPr>
        <p:spPr>
          <a:xfrm>
            <a:off x="8984287" y="3029641"/>
            <a:ext cx="2176174" cy="187909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Freeform 605"/>
          <p:cNvSpPr>
            <a:spLocks noEditPoints="1"/>
          </p:cNvSpPr>
          <p:nvPr/>
        </p:nvSpPr>
        <p:spPr bwMode="auto">
          <a:xfrm>
            <a:off x="6961185" y="3456233"/>
            <a:ext cx="547966" cy="779926"/>
          </a:xfrm>
          <a:custGeom>
            <a:avLst/>
            <a:gdLst/>
            <a:ahLst/>
            <a:cxnLst>
              <a:cxn ang="0">
                <a:pos x="3" y="33"/>
              </a:cxn>
              <a:cxn ang="0">
                <a:pos x="1" y="25"/>
              </a:cxn>
              <a:cxn ang="0">
                <a:pos x="0" y="21"/>
              </a:cxn>
              <a:cxn ang="0">
                <a:pos x="2" y="17"/>
              </a:cxn>
              <a:cxn ang="0">
                <a:pos x="10" y="8"/>
              </a:cxn>
              <a:cxn ang="0">
                <a:pos x="8" y="4"/>
              </a:cxn>
              <a:cxn ang="0">
                <a:pos x="7" y="4"/>
              </a:cxn>
              <a:cxn ang="0">
                <a:pos x="7" y="3"/>
              </a:cxn>
              <a:cxn ang="0">
                <a:pos x="12" y="1"/>
              </a:cxn>
              <a:cxn ang="0">
                <a:pos x="13" y="0"/>
              </a:cxn>
              <a:cxn ang="0">
                <a:pos x="14" y="2"/>
              </a:cxn>
              <a:cxn ang="0">
                <a:pos x="13" y="3"/>
              </a:cxn>
              <a:cxn ang="0">
                <a:pos x="20" y="20"/>
              </a:cxn>
              <a:cxn ang="0">
                <a:pos x="19" y="21"/>
              </a:cxn>
              <a:cxn ang="0">
                <a:pos x="19" y="22"/>
              </a:cxn>
              <a:cxn ang="0">
                <a:pos x="17" y="22"/>
              </a:cxn>
              <a:cxn ang="0">
                <a:pos x="16" y="21"/>
              </a:cxn>
              <a:cxn ang="0">
                <a:pos x="15" y="21"/>
              </a:cxn>
              <a:cxn ang="0">
                <a:pos x="11" y="13"/>
              </a:cxn>
              <a:cxn ang="0">
                <a:pos x="7" y="19"/>
              </a:cxn>
              <a:cxn ang="0">
                <a:pos x="6" y="23"/>
              </a:cxn>
              <a:cxn ang="0">
                <a:pos x="11" y="32"/>
              </a:cxn>
              <a:cxn ang="0">
                <a:pos x="24" y="33"/>
              </a:cxn>
              <a:cxn ang="0">
                <a:pos x="25" y="35"/>
              </a:cxn>
              <a:cxn ang="0">
                <a:pos x="3" y="37"/>
              </a:cxn>
              <a:cxn ang="0">
                <a:pos x="1" y="34"/>
              </a:cxn>
              <a:cxn ang="0">
                <a:pos x="4" y="19"/>
              </a:cxn>
              <a:cxn ang="0">
                <a:pos x="4" y="23"/>
              </a:cxn>
              <a:cxn ang="0">
                <a:pos x="4" y="19"/>
              </a:cxn>
              <a:cxn ang="0">
                <a:pos x="24" y="22"/>
              </a:cxn>
              <a:cxn ang="0">
                <a:pos x="26" y="23"/>
              </a:cxn>
              <a:cxn ang="0">
                <a:pos x="14" y="28"/>
              </a:cxn>
              <a:cxn ang="0">
                <a:pos x="13" y="27"/>
              </a:cxn>
            </a:cxnLst>
            <a:rect l="0" t="0" r="r" b="b"/>
            <a:pathLst>
              <a:path w="26" h="37">
                <a:moveTo>
                  <a:pt x="3" y="33"/>
                </a:moveTo>
                <a:cubicBezTo>
                  <a:pt x="3" y="33"/>
                  <a:pt x="3" y="33"/>
                  <a:pt x="3" y="33"/>
                </a:cubicBezTo>
                <a:cubicBezTo>
                  <a:pt x="4" y="33"/>
                  <a:pt x="4" y="32"/>
                  <a:pt x="4" y="31"/>
                </a:cubicBezTo>
                <a:cubicBezTo>
                  <a:pt x="2" y="29"/>
                  <a:pt x="2" y="27"/>
                  <a:pt x="1" y="25"/>
                </a:cubicBezTo>
                <a:cubicBezTo>
                  <a:pt x="1" y="24"/>
                  <a:pt x="1" y="24"/>
                  <a:pt x="1" y="24"/>
                </a:cubicBezTo>
                <a:cubicBezTo>
                  <a:pt x="0" y="23"/>
                  <a:pt x="0" y="22"/>
                  <a:pt x="0" y="21"/>
                </a:cubicBezTo>
                <a:cubicBezTo>
                  <a:pt x="0" y="20"/>
                  <a:pt x="1" y="19"/>
                  <a:pt x="2" y="18"/>
                </a:cubicBezTo>
                <a:cubicBezTo>
                  <a:pt x="2" y="18"/>
                  <a:pt x="2" y="18"/>
                  <a:pt x="2" y="17"/>
                </a:cubicBezTo>
                <a:cubicBezTo>
                  <a:pt x="3" y="14"/>
                  <a:pt x="6" y="11"/>
                  <a:pt x="10" y="9"/>
                </a:cubicBezTo>
                <a:cubicBezTo>
                  <a:pt x="10" y="8"/>
                  <a:pt x="10" y="8"/>
                  <a:pt x="10" y="8"/>
                </a:cubicBezTo>
                <a:cubicBezTo>
                  <a:pt x="9" y="4"/>
                  <a:pt x="9" y="4"/>
                  <a:pt x="9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4"/>
                  <a:pt x="8" y="4"/>
                  <a:pt x="8" y="4"/>
                </a:cubicBezTo>
                <a:cubicBezTo>
                  <a:pt x="7" y="4"/>
                  <a:pt x="7" y="4"/>
                  <a:pt x="7" y="4"/>
                </a:cubicBezTo>
                <a:cubicBezTo>
                  <a:pt x="7" y="3"/>
                  <a:pt x="7" y="3"/>
                  <a:pt x="7" y="3"/>
                </a:cubicBezTo>
                <a:cubicBezTo>
                  <a:pt x="7" y="3"/>
                  <a:pt x="7" y="3"/>
                  <a:pt x="7" y="3"/>
                </a:cubicBezTo>
                <a:cubicBezTo>
                  <a:pt x="8" y="2"/>
                  <a:pt x="8" y="2"/>
                  <a:pt x="8" y="2"/>
                </a:cubicBezTo>
                <a:cubicBezTo>
                  <a:pt x="12" y="1"/>
                  <a:pt x="12" y="1"/>
                  <a:pt x="12" y="1"/>
                </a:cubicBezTo>
                <a:cubicBezTo>
                  <a:pt x="13" y="0"/>
                  <a:pt x="13" y="0"/>
                  <a:pt x="13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14" y="2"/>
                  <a:pt x="14" y="2"/>
                </a:cubicBezTo>
                <a:cubicBezTo>
                  <a:pt x="13" y="2"/>
                  <a:pt x="13" y="2"/>
                  <a:pt x="13" y="2"/>
                </a:cubicBezTo>
                <a:cubicBezTo>
                  <a:pt x="13" y="2"/>
                  <a:pt x="13" y="2"/>
                  <a:pt x="13" y="3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19" y="20"/>
                  <a:pt x="19" y="20"/>
                  <a:pt x="19" y="21"/>
                </a:cubicBezTo>
                <a:cubicBezTo>
                  <a:pt x="19" y="21"/>
                  <a:pt x="19" y="21"/>
                  <a:pt x="19" y="21"/>
                </a:cubicBezTo>
                <a:cubicBezTo>
                  <a:pt x="20" y="22"/>
                  <a:pt x="19" y="22"/>
                  <a:pt x="19" y="22"/>
                </a:cubicBezTo>
                <a:cubicBezTo>
                  <a:pt x="18" y="23"/>
                  <a:pt x="18" y="23"/>
                  <a:pt x="18" y="23"/>
                </a:cubicBezTo>
                <a:cubicBezTo>
                  <a:pt x="17" y="23"/>
                  <a:pt x="17" y="23"/>
                  <a:pt x="17" y="22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22"/>
                  <a:pt x="16" y="21"/>
                  <a:pt x="16" y="21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22"/>
                  <a:pt x="15" y="22"/>
                  <a:pt x="15" y="21"/>
                </a:cubicBezTo>
                <a:cubicBezTo>
                  <a:pt x="12" y="13"/>
                  <a:pt x="12" y="13"/>
                  <a:pt x="12" y="13"/>
                </a:cubicBezTo>
                <a:cubicBezTo>
                  <a:pt x="12" y="13"/>
                  <a:pt x="11" y="13"/>
                  <a:pt x="11" y="13"/>
                </a:cubicBezTo>
                <a:cubicBezTo>
                  <a:pt x="9" y="14"/>
                  <a:pt x="8" y="16"/>
                  <a:pt x="7" y="18"/>
                </a:cubicBezTo>
                <a:cubicBezTo>
                  <a:pt x="7" y="19"/>
                  <a:pt x="7" y="19"/>
                  <a:pt x="7" y="19"/>
                </a:cubicBezTo>
                <a:cubicBezTo>
                  <a:pt x="7" y="20"/>
                  <a:pt x="7" y="21"/>
                  <a:pt x="7" y="21"/>
                </a:cubicBezTo>
                <a:cubicBezTo>
                  <a:pt x="7" y="22"/>
                  <a:pt x="7" y="23"/>
                  <a:pt x="6" y="23"/>
                </a:cubicBezTo>
                <a:cubicBezTo>
                  <a:pt x="6" y="24"/>
                  <a:pt x="6" y="24"/>
                  <a:pt x="6" y="25"/>
                </a:cubicBezTo>
                <a:cubicBezTo>
                  <a:pt x="6" y="28"/>
                  <a:pt x="8" y="31"/>
                  <a:pt x="11" y="32"/>
                </a:cubicBezTo>
                <a:cubicBezTo>
                  <a:pt x="11" y="32"/>
                  <a:pt x="11" y="33"/>
                  <a:pt x="12" y="33"/>
                </a:cubicBezTo>
                <a:cubicBezTo>
                  <a:pt x="24" y="33"/>
                  <a:pt x="24" y="33"/>
                  <a:pt x="24" y="33"/>
                </a:cubicBezTo>
                <a:cubicBezTo>
                  <a:pt x="25" y="33"/>
                  <a:pt x="25" y="33"/>
                  <a:pt x="25" y="34"/>
                </a:cubicBezTo>
                <a:cubicBezTo>
                  <a:pt x="25" y="35"/>
                  <a:pt x="25" y="35"/>
                  <a:pt x="25" y="35"/>
                </a:cubicBezTo>
                <a:cubicBezTo>
                  <a:pt x="25" y="36"/>
                  <a:pt x="25" y="37"/>
                  <a:pt x="24" y="37"/>
                </a:cubicBezTo>
                <a:cubicBezTo>
                  <a:pt x="3" y="37"/>
                  <a:pt x="3" y="37"/>
                  <a:pt x="3" y="37"/>
                </a:cubicBezTo>
                <a:cubicBezTo>
                  <a:pt x="2" y="37"/>
                  <a:pt x="1" y="36"/>
                  <a:pt x="1" y="35"/>
                </a:cubicBezTo>
                <a:cubicBezTo>
                  <a:pt x="1" y="34"/>
                  <a:pt x="1" y="34"/>
                  <a:pt x="1" y="34"/>
                </a:cubicBezTo>
                <a:cubicBezTo>
                  <a:pt x="1" y="33"/>
                  <a:pt x="2" y="33"/>
                  <a:pt x="3" y="33"/>
                </a:cubicBezTo>
                <a:close/>
                <a:moveTo>
                  <a:pt x="4" y="19"/>
                </a:moveTo>
                <a:cubicBezTo>
                  <a:pt x="4" y="19"/>
                  <a:pt x="5" y="20"/>
                  <a:pt x="5" y="21"/>
                </a:cubicBezTo>
                <a:cubicBezTo>
                  <a:pt x="5" y="22"/>
                  <a:pt x="4" y="23"/>
                  <a:pt x="4" y="23"/>
                </a:cubicBezTo>
                <a:cubicBezTo>
                  <a:pt x="3" y="23"/>
                  <a:pt x="2" y="22"/>
                  <a:pt x="2" y="21"/>
                </a:cubicBezTo>
                <a:cubicBezTo>
                  <a:pt x="2" y="20"/>
                  <a:pt x="3" y="19"/>
                  <a:pt x="4" y="19"/>
                </a:cubicBezTo>
                <a:close/>
                <a:moveTo>
                  <a:pt x="13" y="26"/>
                </a:moveTo>
                <a:cubicBezTo>
                  <a:pt x="24" y="22"/>
                  <a:pt x="24" y="22"/>
                  <a:pt x="24" y="22"/>
                </a:cubicBezTo>
                <a:cubicBezTo>
                  <a:pt x="25" y="21"/>
                  <a:pt x="25" y="22"/>
                  <a:pt x="25" y="22"/>
                </a:cubicBezTo>
                <a:cubicBezTo>
                  <a:pt x="26" y="23"/>
                  <a:pt x="26" y="23"/>
                  <a:pt x="26" y="23"/>
                </a:cubicBezTo>
                <a:cubicBezTo>
                  <a:pt x="26" y="23"/>
                  <a:pt x="26" y="24"/>
                  <a:pt x="25" y="24"/>
                </a:cubicBezTo>
                <a:cubicBezTo>
                  <a:pt x="14" y="28"/>
                  <a:pt x="14" y="28"/>
                  <a:pt x="14" y="28"/>
                </a:cubicBezTo>
                <a:cubicBezTo>
                  <a:pt x="14" y="29"/>
                  <a:pt x="13" y="28"/>
                  <a:pt x="13" y="28"/>
                </a:cubicBezTo>
                <a:cubicBezTo>
                  <a:pt x="13" y="27"/>
                  <a:pt x="13" y="27"/>
                  <a:pt x="13" y="27"/>
                </a:cubicBezTo>
                <a:cubicBezTo>
                  <a:pt x="13" y="27"/>
                  <a:pt x="13" y="26"/>
                  <a:pt x="13" y="2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4" name="Freeform 459"/>
          <p:cNvSpPr>
            <a:spLocks noEditPoints="1"/>
          </p:cNvSpPr>
          <p:nvPr/>
        </p:nvSpPr>
        <p:spPr bwMode="auto">
          <a:xfrm>
            <a:off x="1857768" y="3640375"/>
            <a:ext cx="891847" cy="595784"/>
          </a:xfrm>
          <a:custGeom>
            <a:avLst/>
            <a:gdLst/>
            <a:ahLst/>
            <a:cxnLst>
              <a:cxn ang="0">
                <a:pos x="39" y="24"/>
              </a:cxn>
              <a:cxn ang="0">
                <a:pos x="39" y="5"/>
              </a:cxn>
              <a:cxn ang="0">
                <a:pos x="38" y="4"/>
              </a:cxn>
              <a:cxn ang="0">
                <a:pos x="38" y="4"/>
              </a:cxn>
              <a:cxn ang="0">
                <a:pos x="37" y="4"/>
              </a:cxn>
              <a:cxn ang="0">
                <a:pos x="37" y="2"/>
              </a:cxn>
              <a:cxn ang="0">
                <a:pos x="36" y="1"/>
              </a:cxn>
              <a:cxn ang="0">
                <a:pos x="20" y="3"/>
              </a:cxn>
              <a:cxn ang="0">
                <a:pos x="19" y="3"/>
              </a:cxn>
              <a:cxn ang="0">
                <a:pos x="3" y="1"/>
              </a:cxn>
              <a:cxn ang="0">
                <a:pos x="3" y="2"/>
              </a:cxn>
              <a:cxn ang="0">
                <a:pos x="3" y="4"/>
              </a:cxn>
              <a:cxn ang="0">
                <a:pos x="2" y="4"/>
              </a:cxn>
              <a:cxn ang="0">
                <a:pos x="1" y="4"/>
              </a:cxn>
              <a:cxn ang="0">
                <a:pos x="0" y="5"/>
              </a:cxn>
              <a:cxn ang="0">
                <a:pos x="0" y="24"/>
              </a:cxn>
              <a:cxn ang="0">
                <a:pos x="1" y="25"/>
              </a:cxn>
              <a:cxn ang="0">
                <a:pos x="17" y="25"/>
              </a:cxn>
              <a:cxn ang="0">
                <a:pos x="17" y="25"/>
              </a:cxn>
              <a:cxn ang="0">
                <a:pos x="18" y="26"/>
              </a:cxn>
              <a:cxn ang="0">
                <a:pos x="21" y="26"/>
              </a:cxn>
              <a:cxn ang="0">
                <a:pos x="22" y="25"/>
              </a:cxn>
              <a:cxn ang="0">
                <a:pos x="23" y="25"/>
              </a:cxn>
              <a:cxn ang="0">
                <a:pos x="38" y="25"/>
              </a:cxn>
              <a:cxn ang="0">
                <a:pos x="39" y="24"/>
              </a:cxn>
              <a:cxn ang="0">
                <a:pos x="18" y="23"/>
              </a:cxn>
              <a:cxn ang="0">
                <a:pos x="5" y="21"/>
              </a:cxn>
              <a:cxn ang="0">
                <a:pos x="4" y="20"/>
              </a:cxn>
              <a:cxn ang="0">
                <a:pos x="4" y="3"/>
              </a:cxn>
              <a:cxn ang="0">
                <a:pos x="5" y="2"/>
              </a:cxn>
              <a:cxn ang="0">
                <a:pos x="18" y="4"/>
              </a:cxn>
              <a:cxn ang="0">
                <a:pos x="19" y="6"/>
              </a:cxn>
              <a:cxn ang="0">
                <a:pos x="19" y="23"/>
              </a:cxn>
              <a:cxn ang="0">
                <a:pos x="18" y="23"/>
              </a:cxn>
              <a:cxn ang="0">
                <a:pos x="21" y="23"/>
              </a:cxn>
              <a:cxn ang="0">
                <a:pos x="35" y="21"/>
              </a:cxn>
              <a:cxn ang="0">
                <a:pos x="36" y="20"/>
              </a:cxn>
              <a:cxn ang="0">
                <a:pos x="36" y="3"/>
              </a:cxn>
              <a:cxn ang="0">
                <a:pos x="35" y="2"/>
              </a:cxn>
              <a:cxn ang="0">
                <a:pos x="21" y="4"/>
              </a:cxn>
              <a:cxn ang="0">
                <a:pos x="20" y="6"/>
              </a:cxn>
              <a:cxn ang="0">
                <a:pos x="20" y="23"/>
              </a:cxn>
              <a:cxn ang="0">
                <a:pos x="21" y="23"/>
              </a:cxn>
            </a:cxnLst>
            <a:rect l="0" t="0" r="r" b="b"/>
            <a:pathLst>
              <a:path w="39" h="26">
                <a:moveTo>
                  <a:pt x="39" y="24"/>
                </a:moveTo>
                <a:cubicBezTo>
                  <a:pt x="39" y="5"/>
                  <a:pt x="39" y="5"/>
                  <a:pt x="39" y="5"/>
                </a:cubicBezTo>
                <a:cubicBezTo>
                  <a:pt x="39" y="5"/>
                  <a:pt x="39" y="4"/>
                  <a:pt x="38" y="4"/>
                </a:cubicBezTo>
                <a:cubicBezTo>
                  <a:pt x="38" y="4"/>
                  <a:pt x="38" y="4"/>
                  <a:pt x="38" y="4"/>
                </a:cubicBezTo>
                <a:cubicBezTo>
                  <a:pt x="37" y="4"/>
                  <a:pt x="37" y="4"/>
                  <a:pt x="37" y="4"/>
                </a:cubicBezTo>
                <a:cubicBezTo>
                  <a:pt x="37" y="2"/>
                  <a:pt x="37" y="2"/>
                  <a:pt x="37" y="2"/>
                </a:cubicBezTo>
                <a:cubicBezTo>
                  <a:pt x="37" y="2"/>
                  <a:pt x="36" y="1"/>
                  <a:pt x="36" y="1"/>
                </a:cubicBezTo>
                <a:cubicBezTo>
                  <a:pt x="30" y="0"/>
                  <a:pt x="25" y="0"/>
                  <a:pt x="20" y="3"/>
                </a:cubicBezTo>
                <a:cubicBezTo>
                  <a:pt x="20" y="4"/>
                  <a:pt x="20" y="4"/>
                  <a:pt x="19" y="3"/>
                </a:cubicBezTo>
                <a:cubicBezTo>
                  <a:pt x="15" y="0"/>
                  <a:pt x="9" y="0"/>
                  <a:pt x="3" y="1"/>
                </a:cubicBezTo>
                <a:cubicBezTo>
                  <a:pt x="3" y="1"/>
                  <a:pt x="3" y="2"/>
                  <a:pt x="3" y="2"/>
                </a:cubicBezTo>
                <a:cubicBezTo>
                  <a:pt x="3" y="4"/>
                  <a:pt x="3" y="4"/>
                  <a:pt x="3" y="4"/>
                </a:cubicBezTo>
                <a:cubicBezTo>
                  <a:pt x="3" y="4"/>
                  <a:pt x="2" y="4"/>
                  <a:pt x="2" y="4"/>
                </a:cubicBezTo>
                <a:cubicBezTo>
                  <a:pt x="1" y="4"/>
                  <a:pt x="1" y="4"/>
                  <a:pt x="1" y="4"/>
                </a:cubicBezTo>
                <a:cubicBezTo>
                  <a:pt x="1" y="4"/>
                  <a:pt x="0" y="5"/>
                  <a:pt x="0" y="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1" y="25"/>
                  <a:pt x="1" y="25"/>
                </a:cubicBezTo>
                <a:cubicBezTo>
                  <a:pt x="17" y="25"/>
                  <a:pt x="17" y="25"/>
                  <a:pt x="17" y="25"/>
                </a:cubicBezTo>
                <a:cubicBezTo>
                  <a:pt x="17" y="25"/>
                  <a:pt x="17" y="25"/>
                  <a:pt x="17" y="25"/>
                </a:cubicBezTo>
                <a:cubicBezTo>
                  <a:pt x="17" y="26"/>
                  <a:pt x="18" y="26"/>
                  <a:pt x="18" y="26"/>
                </a:cubicBezTo>
                <a:cubicBezTo>
                  <a:pt x="21" y="26"/>
                  <a:pt x="21" y="26"/>
                  <a:pt x="21" y="26"/>
                </a:cubicBezTo>
                <a:cubicBezTo>
                  <a:pt x="22" y="26"/>
                  <a:pt x="22" y="26"/>
                  <a:pt x="22" y="25"/>
                </a:cubicBezTo>
                <a:cubicBezTo>
                  <a:pt x="22" y="25"/>
                  <a:pt x="22" y="25"/>
                  <a:pt x="23" y="25"/>
                </a:cubicBezTo>
                <a:cubicBezTo>
                  <a:pt x="38" y="25"/>
                  <a:pt x="38" y="25"/>
                  <a:pt x="38" y="25"/>
                </a:cubicBezTo>
                <a:cubicBezTo>
                  <a:pt x="39" y="25"/>
                  <a:pt x="39" y="24"/>
                  <a:pt x="39" y="24"/>
                </a:cubicBezTo>
                <a:close/>
                <a:moveTo>
                  <a:pt x="18" y="23"/>
                </a:moveTo>
                <a:cubicBezTo>
                  <a:pt x="15" y="21"/>
                  <a:pt x="10" y="20"/>
                  <a:pt x="5" y="21"/>
                </a:cubicBezTo>
                <a:cubicBezTo>
                  <a:pt x="4" y="21"/>
                  <a:pt x="4" y="21"/>
                  <a:pt x="4" y="20"/>
                </a:cubicBezTo>
                <a:cubicBezTo>
                  <a:pt x="4" y="3"/>
                  <a:pt x="4" y="3"/>
                  <a:pt x="4" y="3"/>
                </a:cubicBezTo>
                <a:cubicBezTo>
                  <a:pt x="4" y="2"/>
                  <a:pt x="4" y="2"/>
                  <a:pt x="5" y="2"/>
                </a:cubicBezTo>
                <a:cubicBezTo>
                  <a:pt x="10" y="1"/>
                  <a:pt x="15" y="2"/>
                  <a:pt x="18" y="4"/>
                </a:cubicBezTo>
                <a:cubicBezTo>
                  <a:pt x="19" y="5"/>
                  <a:pt x="19" y="5"/>
                  <a:pt x="19" y="6"/>
                </a:cubicBezTo>
                <a:cubicBezTo>
                  <a:pt x="19" y="23"/>
                  <a:pt x="19" y="23"/>
                  <a:pt x="19" y="23"/>
                </a:cubicBezTo>
                <a:cubicBezTo>
                  <a:pt x="19" y="23"/>
                  <a:pt x="19" y="23"/>
                  <a:pt x="18" y="23"/>
                </a:cubicBezTo>
                <a:close/>
                <a:moveTo>
                  <a:pt x="21" y="23"/>
                </a:moveTo>
                <a:cubicBezTo>
                  <a:pt x="25" y="21"/>
                  <a:pt x="29" y="20"/>
                  <a:pt x="35" y="21"/>
                </a:cubicBezTo>
                <a:cubicBezTo>
                  <a:pt x="35" y="21"/>
                  <a:pt x="36" y="21"/>
                  <a:pt x="36" y="20"/>
                </a:cubicBezTo>
                <a:cubicBezTo>
                  <a:pt x="36" y="3"/>
                  <a:pt x="36" y="3"/>
                  <a:pt x="36" y="3"/>
                </a:cubicBezTo>
                <a:cubicBezTo>
                  <a:pt x="36" y="2"/>
                  <a:pt x="35" y="2"/>
                  <a:pt x="35" y="2"/>
                </a:cubicBezTo>
                <a:cubicBezTo>
                  <a:pt x="29" y="1"/>
                  <a:pt x="25" y="2"/>
                  <a:pt x="21" y="4"/>
                </a:cubicBezTo>
                <a:cubicBezTo>
                  <a:pt x="21" y="5"/>
                  <a:pt x="20" y="5"/>
                  <a:pt x="20" y="6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3"/>
                  <a:pt x="21" y="23"/>
                  <a:pt x="21" y="2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5" name="Freeform 612"/>
          <p:cNvSpPr>
            <a:spLocks noEditPoints="1"/>
          </p:cNvSpPr>
          <p:nvPr/>
        </p:nvSpPr>
        <p:spPr bwMode="auto">
          <a:xfrm>
            <a:off x="3844949" y="3116941"/>
            <a:ext cx="1802441" cy="1642651"/>
          </a:xfrm>
          <a:custGeom>
            <a:avLst/>
            <a:gdLst/>
            <a:ahLst/>
            <a:cxnLst>
              <a:cxn ang="0">
                <a:pos x="22" y="7"/>
              </a:cxn>
              <a:cxn ang="0">
                <a:pos x="26" y="11"/>
              </a:cxn>
              <a:cxn ang="0">
                <a:pos x="28" y="19"/>
              </a:cxn>
              <a:cxn ang="0">
                <a:pos x="22" y="14"/>
              </a:cxn>
              <a:cxn ang="0">
                <a:pos x="34" y="29"/>
              </a:cxn>
              <a:cxn ang="0">
                <a:pos x="23" y="35"/>
              </a:cxn>
              <a:cxn ang="0">
                <a:pos x="31" y="36"/>
              </a:cxn>
              <a:cxn ang="0">
                <a:pos x="36" y="30"/>
              </a:cxn>
              <a:cxn ang="0">
                <a:pos x="33" y="37"/>
              </a:cxn>
              <a:cxn ang="0">
                <a:pos x="9" y="32"/>
              </a:cxn>
              <a:cxn ang="0">
                <a:pos x="6" y="27"/>
              </a:cxn>
              <a:cxn ang="0">
                <a:pos x="22" y="6"/>
              </a:cxn>
              <a:cxn ang="0">
                <a:pos x="27" y="3"/>
              </a:cxn>
              <a:cxn ang="0">
                <a:pos x="34" y="5"/>
              </a:cxn>
              <a:cxn ang="0">
                <a:pos x="35" y="28"/>
              </a:cxn>
              <a:cxn ang="0">
                <a:pos x="36" y="30"/>
              </a:cxn>
              <a:cxn ang="0">
                <a:pos x="11" y="20"/>
              </a:cxn>
              <a:cxn ang="0">
                <a:pos x="7" y="25"/>
              </a:cxn>
              <a:cxn ang="0">
                <a:pos x="10" y="24"/>
              </a:cxn>
              <a:cxn ang="0">
                <a:pos x="14" y="29"/>
              </a:cxn>
              <a:cxn ang="0">
                <a:pos x="13" y="23"/>
              </a:cxn>
              <a:cxn ang="0">
                <a:pos x="12" y="25"/>
              </a:cxn>
              <a:cxn ang="0">
                <a:pos x="10" y="32"/>
              </a:cxn>
              <a:cxn ang="0">
                <a:pos x="17" y="31"/>
              </a:cxn>
              <a:cxn ang="0">
                <a:pos x="13" y="30"/>
              </a:cxn>
              <a:cxn ang="0">
                <a:pos x="27" y="5"/>
              </a:cxn>
              <a:cxn ang="0">
                <a:pos x="27" y="11"/>
              </a:cxn>
              <a:cxn ang="0">
                <a:pos x="34" y="12"/>
              </a:cxn>
              <a:cxn ang="0">
                <a:pos x="21" y="6"/>
              </a:cxn>
              <a:cxn ang="0">
                <a:pos x="16" y="12"/>
              </a:cxn>
              <a:cxn ang="0">
                <a:pos x="21" y="6"/>
              </a:cxn>
              <a:cxn ang="0">
                <a:pos x="34" y="27"/>
              </a:cxn>
              <a:cxn ang="0">
                <a:pos x="29" y="28"/>
              </a:cxn>
              <a:cxn ang="0">
                <a:pos x="16" y="13"/>
              </a:cxn>
              <a:cxn ang="0">
                <a:pos x="11" y="14"/>
              </a:cxn>
              <a:cxn ang="0">
                <a:pos x="35" y="15"/>
              </a:cxn>
              <a:cxn ang="0">
                <a:pos x="35" y="27"/>
              </a:cxn>
              <a:cxn ang="0">
                <a:pos x="35" y="15"/>
              </a:cxn>
              <a:cxn ang="0">
                <a:pos x="17" y="29"/>
              </a:cxn>
              <a:cxn ang="0">
                <a:pos x="17" y="13"/>
              </a:cxn>
              <a:cxn ang="0">
                <a:pos x="28" y="13"/>
              </a:cxn>
              <a:cxn ang="0">
                <a:pos x="28" y="29"/>
              </a:cxn>
              <a:cxn ang="0">
                <a:pos x="23" y="34"/>
              </a:cxn>
              <a:cxn ang="0">
                <a:pos x="19" y="30"/>
              </a:cxn>
              <a:cxn ang="0">
                <a:pos x="34" y="14"/>
              </a:cxn>
              <a:cxn ang="0">
                <a:pos x="29" y="13"/>
              </a:cxn>
              <a:cxn ang="0">
                <a:pos x="34" y="14"/>
              </a:cxn>
            </a:cxnLst>
            <a:rect l="0" t="0" r="r" b="b"/>
            <a:pathLst>
              <a:path w="45" h="41">
                <a:moveTo>
                  <a:pt x="26" y="11"/>
                </a:moveTo>
                <a:cubicBezTo>
                  <a:pt x="25" y="9"/>
                  <a:pt x="24" y="8"/>
                  <a:pt x="23" y="7"/>
                </a:cubicBezTo>
                <a:cubicBezTo>
                  <a:pt x="22" y="7"/>
                  <a:pt x="22" y="7"/>
                  <a:pt x="22" y="7"/>
                </a:cubicBezTo>
                <a:cubicBezTo>
                  <a:pt x="21" y="8"/>
                  <a:pt x="20" y="9"/>
                  <a:pt x="19" y="11"/>
                </a:cubicBezTo>
                <a:cubicBezTo>
                  <a:pt x="18" y="11"/>
                  <a:pt x="19" y="11"/>
                  <a:pt x="19" y="11"/>
                </a:cubicBezTo>
                <a:cubicBezTo>
                  <a:pt x="21" y="11"/>
                  <a:pt x="23" y="11"/>
                  <a:pt x="26" y="11"/>
                </a:cubicBezTo>
                <a:cubicBezTo>
                  <a:pt x="26" y="11"/>
                  <a:pt x="26" y="11"/>
                  <a:pt x="26" y="11"/>
                </a:cubicBezTo>
                <a:close/>
                <a:moveTo>
                  <a:pt x="22" y="14"/>
                </a:moveTo>
                <a:cubicBezTo>
                  <a:pt x="25" y="14"/>
                  <a:pt x="28" y="16"/>
                  <a:pt x="28" y="19"/>
                </a:cubicBezTo>
                <a:cubicBezTo>
                  <a:pt x="28" y="22"/>
                  <a:pt x="25" y="25"/>
                  <a:pt x="22" y="25"/>
                </a:cubicBezTo>
                <a:cubicBezTo>
                  <a:pt x="19" y="25"/>
                  <a:pt x="17" y="22"/>
                  <a:pt x="17" y="19"/>
                </a:cubicBezTo>
                <a:cubicBezTo>
                  <a:pt x="17" y="16"/>
                  <a:pt x="19" y="14"/>
                  <a:pt x="22" y="14"/>
                </a:cubicBezTo>
                <a:close/>
                <a:moveTo>
                  <a:pt x="34" y="30"/>
                </a:moveTo>
                <a:cubicBezTo>
                  <a:pt x="34" y="29"/>
                  <a:pt x="34" y="29"/>
                  <a:pt x="34" y="29"/>
                </a:cubicBezTo>
                <a:cubicBezTo>
                  <a:pt x="34" y="29"/>
                  <a:pt x="34" y="29"/>
                  <a:pt x="34" y="29"/>
                </a:cubicBezTo>
                <a:cubicBezTo>
                  <a:pt x="32" y="29"/>
                  <a:pt x="30" y="30"/>
                  <a:pt x="28" y="30"/>
                </a:cubicBezTo>
                <a:cubicBezTo>
                  <a:pt x="28" y="30"/>
                  <a:pt x="27" y="30"/>
                  <a:pt x="27" y="31"/>
                </a:cubicBezTo>
                <a:cubicBezTo>
                  <a:pt x="26" y="32"/>
                  <a:pt x="25" y="34"/>
                  <a:pt x="23" y="35"/>
                </a:cubicBezTo>
                <a:cubicBezTo>
                  <a:pt x="23" y="35"/>
                  <a:pt x="23" y="35"/>
                  <a:pt x="23" y="35"/>
                </a:cubicBezTo>
                <a:cubicBezTo>
                  <a:pt x="27" y="37"/>
                  <a:pt x="29" y="38"/>
                  <a:pt x="31" y="37"/>
                </a:cubicBezTo>
                <a:cubicBezTo>
                  <a:pt x="32" y="36"/>
                  <a:pt x="32" y="36"/>
                  <a:pt x="31" y="36"/>
                </a:cubicBezTo>
                <a:cubicBezTo>
                  <a:pt x="30" y="34"/>
                  <a:pt x="31" y="30"/>
                  <a:pt x="34" y="30"/>
                </a:cubicBezTo>
                <a:cubicBezTo>
                  <a:pt x="34" y="30"/>
                  <a:pt x="34" y="30"/>
                  <a:pt x="34" y="30"/>
                </a:cubicBezTo>
                <a:close/>
                <a:moveTo>
                  <a:pt x="36" y="30"/>
                </a:moveTo>
                <a:cubicBezTo>
                  <a:pt x="37" y="31"/>
                  <a:pt x="38" y="32"/>
                  <a:pt x="38" y="34"/>
                </a:cubicBezTo>
                <a:cubicBezTo>
                  <a:pt x="38" y="36"/>
                  <a:pt x="36" y="37"/>
                  <a:pt x="34" y="37"/>
                </a:cubicBezTo>
                <a:cubicBezTo>
                  <a:pt x="34" y="37"/>
                  <a:pt x="34" y="37"/>
                  <a:pt x="33" y="37"/>
                </a:cubicBezTo>
                <a:cubicBezTo>
                  <a:pt x="31" y="40"/>
                  <a:pt x="27" y="39"/>
                  <a:pt x="23" y="36"/>
                </a:cubicBezTo>
                <a:cubicBezTo>
                  <a:pt x="22" y="36"/>
                  <a:pt x="22" y="36"/>
                  <a:pt x="22" y="36"/>
                </a:cubicBezTo>
                <a:cubicBezTo>
                  <a:pt x="15" y="41"/>
                  <a:pt x="9" y="39"/>
                  <a:pt x="9" y="32"/>
                </a:cubicBezTo>
                <a:cubicBezTo>
                  <a:pt x="9" y="31"/>
                  <a:pt x="9" y="31"/>
                  <a:pt x="9" y="31"/>
                </a:cubicBezTo>
                <a:cubicBezTo>
                  <a:pt x="7" y="31"/>
                  <a:pt x="6" y="29"/>
                  <a:pt x="6" y="27"/>
                </a:cubicBezTo>
                <a:cubicBezTo>
                  <a:pt x="6" y="27"/>
                  <a:pt x="6" y="27"/>
                  <a:pt x="6" y="27"/>
                </a:cubicBezTo>
                <a:cubicBezTo>
                  <a:pt x="0" y="23"/>
                  <a:pt x="1" y="17"/>
                  <a:pt x="9" y="13"/>
                </a:cubicBezTo>
                <a:cubicBezTo>
                  <a:pt x="9" y="13"/>
                  <a:pt x="9" y="13"/>
                  <a:pt x="9" y="13"/>
                </a:cubicBezTo>
                <a:cubicBezTo>
                  <a:pt x="8" y="3"/>
                  <a:pt x="14" y="0"/>
                  <a:pt x="22" y="6"/>
                </a:cubicBezTo>
                <a:cubicBezTo>
                  <a:pt x="22" y="6"/>
                  <a:pt x="22" y="6"/>
                  <a:pt x="23" y="6"/>
                </a:cubicBezTo>
                <a:cubicBezTo>
                  <a:pt x="24" y="5"/>
                  <a:pt x="25" y="4"/>
                  <a:pt x="27" y="3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1"/>
                  <a:pt x="29" y="0"/>
                  <a:pt x="31" y="0"/>
                </a:cubicBezTo>
                <a:cubicBezTo>
                  <a:pt x="33" y="0"/>
                  <a:pt x="35" y="2"/>
                  <a:pt x="34" y="5"/>
                </a:cubicBezTo>
                <a:cubicBezTo>
                  <a:pt x="34" y="5"/>
                  <a:pt x="34" y="5"/>
                  <a:pt x="34" y="5"/>
                </a:cubicBezTo>
                <a:cubicBezTo>
                  <a:pt x="35" y="7"/>
                  <a:pt x="36" y="10"/>
                  <a:pt x="35" y="13"/>
                </a:cubicBezTo>
                <a:cubicBezTo>
                  <a:pt x="35" y="13"/>
                  <a:pt x="35" y="13"/>
                  <a:pt x="36" y="13"/>
                </a:cubicBezTo>
                <a:cubicBezTo>
                  <a:pt x="45" y="17"/>
                  <a:pt x="45" y="25"/>
                  <a:pt x="35" y="28"/>
                </a:cubicBezTo>
                <a:cubicBezTo>
                  <a:pt x="35" y="28"/>
                  <a:pt x="35" y="28"/>
                  <a:pt x="35" y="29"/>
                </a:cubicBezTo>
                <a:cubicBezTo>
                  <a:pt x="35" y="29"/>
                  <a:pt x="35" y="29"/>
                  <a:pt x="35" y="30"/>
                </a:cubicBezTo>
                <a:cubicBezTo>
                  <a:pt x="35" y="30"/>
                  <a:pt x="35" y="30"/>
                  <a:pt x="36" y="30"/>
                </a:cubicBezTo>
                <a:close/>
                <a:moveTo>
                  <a:pt x="10" y="24"/>
                </a:moveTo>
                <a:cubicBezTo>
                  <a:pt x="11" y="23"/>
                  <a:pt x="11" y="22"/>
                  <a:pt x="11" y="21"/>
                </a:cubicBezTo>
                <a:cubicBezTo>
                  <a:pt x="12" y="21"/>
                  <a:pt x="12" y="21"/>
                  <a:pt x="11" y="20"/>
                </a:cubicBezTo>
                <a:cubicBezTo>
                  <a:pt x="11" y="18"/>
                  <a:pt x="10" y="16"/>
                  <a:pt x="10" y="15"/>
                </a:cubicBezTo>
                <a:cubicBezTo>
                  <a:pt x="10" y="15"/>
                  <a:pt x="9" y="14"/>
                  <a:pt x="9" y="15"/>
                </a:cubicBezTo>
                <a:cubicBezTo>
                  <a:pt x="3" y="17"/>
                  <a:pt x="3" y="22"/>
                  <a:pt x="7" y="25"/>
                </a:cubicBezTo>
                <a:cubicBezTo>
                  <a:pt x="7" y="26"/>
                  <a:pt x="7" y="26"/>
                  <a:pt x="7" y="25"/>
                </a:cubicBezTo>
                <a:cubicBezTo>
                  <a:pt x="8" y="25"/>
                  <a:pt x="9" y="24"/>
                  <a:pt x="10" y="24"/>
                </a:cubicBezTo>
                <a:cubicBezTo>
                  <a:pt x="10" y="24"/>
                  <a:pt x="10" y="24"/>
                  <a:pt x="10" y="24"/>
                </a:cubicBezTo>
                <a:close/>
                <a:moveTo>
                  <a:pt x="12" y="25"/>
                </a:moveTo>
                <a:cubicBezTo>
                  <a:pt x="13" y="25"/>
                  <a:pt x="14" y="27"/>
                  <a:pt x="14" y="28"/>
                </a:cubicBezTo>
                <a:cubicBezTo>
                  <a:pt x="14" y="28"/>
                  <a:pt x="14" y="29"/>
                  <a:pt x="14" y="29"/>
                </a:cubicBezTo>
                <a:cubicBezTo>
                  <a:pt x="14" y="29"/>
                  <a:pt x="15" y="29"/>
                  <a:pt x="16" y="29"/>
                </a:cubicBezTo>
                <a:cubicBezTo>
                  <a:pt x="16" y="29"/>
                  <a:pt x="16" y="29"/>
                  <a:pt x="16" y="28"/>
                </a:cubicBezTo>
                <a:cubicBezTo>
                  <a:pt x="15" y="27"/>
                  <a:pt x="14" y="25"/>
                  <a:pt x="13" y="23"/>
                </a:cubicBezTo>
                <a:cubicBezTo>
                  <a:pt x="12" y="22"/>
                  <a:pt x="12" y="22"/>
                  <a:pt x="12" y="23"/>
                </a:cubicBezTo>
                <a:cubicBezTo>
                  <a:pt x="12" y="23"/>
                  <a:pt x="11" y="24"/>
                  <a:pt x="11" y="24"/>
                </a:cubicBezTo>
                <a:cubicBezTo>
                  <a:pt x="11" y="24"/>
                  <a:pt x="11" y="24"/>
                  <a:pt x="12" y="25"/>
                </a:cubicBezTo>
                <a:close/>
                <a:moveTo>
                  <a:pt x="13" y="30"/>
                </a:moveTo>
                <a:cubicBezTo>
                  <a:pt x="13" y="30"/>
                  <a:pt x="12" y="31"/>
                  <a:pt x="11" y="31"/>
                </a:cubicBezTo>
                <a:cubicBezTo>
                  <a:pt x="10" y="31"/>
                  <a:pt x="10" y="32"/>
                  <a:pt x="10" y="32"/>
                </a:cubicBezTo>
                <a:cubicBezTo>
                  <a:pt x="11" y="37"/>
                  <a:pt x="16" y="39"/>
                  <a:pt x="21" y="35"/>
                </a:cubicBezTo>
                <a:cubicBezTo>
                  <a:pt x="21" y="35"/>
                  <a:pt x="21" y="35"/>
                  <a:pt x="21" y="35"/>
                </a:cubicBezTo>
                <a:cubicBezTo>
                  <a:pt x="20" y="34"/>
                  <a:pt x="19" y="32"/>
                  <a:pt x="17" y="31"/>
                </a:cubicBezTo>
                <a:cubicBezTo>
                  <a:pt x="17" y="30"/>
                  <a:pt x="17" y="30"/>
                  <a:pt x="16" y="30"/>
                </a:cubicBezTo>
                <a:cubicBezTo>
                  <a:pt x="15" y="30"/>
                  <a:pt x="14" y="30"/>
                  <a:pt x="14" y="29"/>
                </a:cubicBezTo>
                <a:cubicBezTo>
                  <a:pt x="13" y="29"/>
                  <a:pt x="13" y="29"/>
                  <a:pt x="13" y="30"/>
                </a:cubicBezTo>
                <a:close/>
                <a:moveTo>
                  <a:pt x="33" y="7"/>
                </a:moveTo>
                <a:cubicBezTo>
                  <a:pt x="31" y="8"/>
                  <a:pt x="28" y="7"/>
                  <a:pt x="27" y="5"/>
                </a:cubicBezTo>
                <a:cubicBezTo>
                  <a:pt x="27" y="5"/>
                  <a:pt x="27" y="5"/>
                  <a:pt x="27" y="5"/>
                </a:cubicBezTo>
                <a:cubicBezTo>
                  <a:pt x="26" y="5"/>
                  <a:pt x="25" y="6"/>
                  <a:pt x="23" y="6"/>
                </a:cubicBezTo>
                <a:cubicBezTo>
                  <a:pt x="23" y="6"/>
                  <a:pt x="23" y="7"/>
                  <a:pt x="23" y="7"/>
                </a:cubicBezTo>
                <a:cubicBezTo>
                  <a:pt x="25" y="8"/>
                  <a:pt x="26" y="9"/>
                  <a:pt x="27" y="11"/>
                </a:cubicBezTo>
                <a:cubicBezTo>
                  <a:pt x="27" y="11"/>
                  <a:pt x="28" y="12"/>
                  <a:pt x="28" y="12"/>
                </a:cubicBezTo>
                <a:cubicBezTo>
                  <a:pt x="30" y="12"/>
                  <a:pt x="32" y="12"/>
                  <a:pt x="34" y="13"/>
                </a:cubicBezTo>
                <a:cubicBezTo>
                  <a:pt x="34" y="13"/>
                  <a:pt x="34" y="13"/>
                  <a:pt x="34" y="12"/>
                </a:cubicBezTo>
                <a:cubicBezTo>
                  <a:pt x="34" y="10"/>
                  <a:pt x="34" y="8"/>
                  <a:pt x="33" y="7"/>
                </a:cubicBezTo>
                <a:cubicBezTo>
                  <a:pt x="33" y="7"/>
                  <a:pt x="33" y="7"/>
                  <a:pt x="33" y="7"/>
                </a:cubicBezTo>
                <a:close/>
                <a:moveTo>
                  <a:pt x="21" y="6"/>
                </a:moveTo>
                <a:cubicBezTo>
                  <a:pt x="15" y="2"/>
                  <a:pt x="10" y="5"/>
                  <a:pt x="10" y="13"/>
                </a:cubicBezTo>
                <a:cubicBezTo>
                  <a:pt x="10" y="13"/>
                  <a:pt x="11" y="13"/>
                  <a:pt x="11" y="13"/>
                </a:cubicBezTo>
                <a:cubicBezTo>
                  <a:pt x="12" y="12"/>
                  <a:pt x="14" y="12"/>
                  <a:pt x="16" y="12"/>
                </a:cubicBezTo>
                <a:cubicBezTo>
                  <a:pt x="17" y="12"/>
                  <a:pt x="17" y="11"/>
                  <a:pt x="17" y="11"/>
                </a:cubicBezTo>
                <a:cubicBezTo>
                  <a:pt x="19" y="9"/>
                  <a:pt x="20" y="8"/>
                  <a:pt x="21" y="7"/>
                </a:cubicBezTo>
                <a:cubicBezTo>
                  <a:pt x="21" y="7"/>
                  <a:pt x="21" y="6"/>
                  <a:pt x="21" y="6"/>
                </a:cubicBezTo>
                <a:close/>
                <a:moveTo>
                  <a:pt x="29" y="29"/>
                </a:moveTo>
                <a:cubicBezTo>
                  <a:pt x="31" y="29"/>
                  <a:pt x="32" y="28"/>
                  <a:pt x="34" y="28"/>
                </a:cubicBezTo>
                <a:cubicBezTo>
                  <a:pt x="34" y="28"/>
                  <a:pt x="34" y="27"/>
                  <a:pt x="34" y="27"/>
                </a:cubicBezTo>
                <a:cubicBezTo>
                  <a:pt x="34" y="26"/>
                  <a:pt x="33" y="24"/>
                  <a:pt x="33" y="23"/>
                </a:cubicBezTo>
                <a:cubicBezTo>
                  <a:pt x="33" y="22"/>
                  <a:pt x="32" y="22"/>
                  <a:pt x="32" y="23"/>
                </a:cubicBezTo>
                <a:cubicBezTo>
                  <a:pt x="31" y="25"/>
                  <a:pt x="30" y="27"/>
                  <a:pt x="29" y="28"/>
                </a:cubicBezTo>
                <a:cubicBezTo>
                  <a:pt x="28" y="29"/>
                  <a:pt x="29" y="29"/>
                  <a:pt x="29" y="29"/>
                </a:cubicBezTo>
                <a:close/>
                <a:moveTo>
                  <a:pt x="13" y="19"/>
                </a:moveTo>
                <a:cubicBezTo>
                  <a:pt x="14" y="17"/>
                  <a:pt x="15" y="15"/>
                  <a:pt x="16" y="13"/>
                </a:cubicBezTo>
                <a:cubicBezTo>
                  <a:pt x="16" y="13"/>
                  <a:pt x="16" y="13"/>
                  <a:pt x="16" y="13"/>
                </a:cubicBezTo>
                <a:cubicBezTo>
                  <a:pt x="14" y="13"/>
                  <a:pt x="12" y="13"/>
                  <a:pt x="11" y="14"/>
                </a:cubicBezTo>
                <a:cubicBezTo>
                  <a:pt x="11" y="14"/>
                  <a:pt x="10" y="14"/>
                  <a:pt x="11" y="14"/>
                </a:cubicBezTo>
                <a:cubicBezTo>
                  <a:pt x="11" y="16"/>
                  <a:pt x="11" y="17"/>
                  <a:pt x="12" y="19"/>
                </a:cubicBezTo>
                <a:cubicBezTo>
                  <a:pt x="12" y="19"/>
                  <a:pt x="12" y="19"/>
                  <a:pt x="13" y="19"/>
                </a:cubicBezTo>
                <a:close/>
                <a:moveTo>
                  <a:pt x="35" y="15"/>
                </a:moveTo>
                <a:cubicBezTo>
                  <a:pt x="34" y="17"/>
                  <a:pt x="34" y="18"/>
                  <a:pt x="33" y="20"/>
                </a:cubicBezTo>
                <a:cubicBezTo>
                  <a:pt x="33" y="21"/>
                  <a:pt x="33" y="21"/>
                  <a:pt x="33" y="21"/>
                </a:cubicBezTo>
                <a:cubicBezTo>
                  <a:pt x="34" y="23"/>
                  <a:pt x="35" y="25"/>
                  <a:pt x="35" y="27"/>
                </a:cubicBezTo>
                <a:cubicBezTo>
                  <a:pt x="35" y="27"/>
                  <a:pt x="35" y="27"/>
                  <a:pt x="35" y="27"/>
                </a:cubicBezTo>
                <a:cubicBezTo>
                  <a:pt x="42" y="24"/>
                  <a:pt x="42" y="18"/>
                  <a:pt x="35" y="15"/>
                </a:cubicBezTo>
                <a:cubicBezTo>
                  <a:pt x="35" y="14"/>
                  <a:pt x="35" y="15"/>
                  <a:pt x="35" y="15"/>
                </a:cubicBezTo>
                <a:close/>
                <a:moveTo>
                  <a:pt x="26" y="29"/>
                </a:moveTo>
                <a:cubicBezTo>
                  <a:pt x="24" y="30"/>
                  <a:pt x="21" y="30"/>
                  <a:pt x="18" y="29"/>
                </a:cubicBezTo>
                <a:cubicBezTo>
                  <a:pt x="18" y="29"/>
                  <a:pt x="17" y="29"/>
                  <a:pt x="17" y="29"/>
                </a:cubicBezTo>
                <a:cubicBezTo>
                  <a:pt x="15" y="26"/>
                  <a:pt x="14" y="24"/>
                  <a:pt x="13" y="22"/>
                </a:cubicBezTo>
                <a:cubicBezTo>
                  <a:pt x="13" y="21"/>
                  <a:pt x="13" y="21"/>
                  <a:pt x="13" y="20"/>
                </a:cubicBezTo>
                <a:cubicBezTo>
                  <a:pt x="14" y="18"/>
                  <a:pt x="15" y="15"/>
                  <a:pt x="17" y="13"/>
                </a:cubicBezTo>
                <a:cubicBezTo>
                  <a:pt x="17" y="13"/>
                  <a:pt x="18" y="12"/>
                  <a:pt x="18" y="12"/>
                </a:cubicBezTo>
                <a:cubicBezTo>
                  <a:pt x="21" y="12"/>
                  <a:pt x="24" y="12"/>
                  <a:pt x="26" y="12"/>
                </a:cubicBezTo>
                <a:cubicBezTo>
                  <a:pt x="27" y="12"/>
                  <a:pt x="27" y="13"/>
                  <a:pt x="28" y="13"/>
                </a:cubicBezTo>
                <a:cubicBezTo>
                  <a:pt x="29" y="15"/>
                  <a:pt x="31" y="18"/>
                  <a:pt x="32" y="20"/>
                </a:cubicBezTo>
                <a:cubicBezTo>
                  <a:pt x="32" y="21"/>
                  <a:pt x="32" y="21"/>
                  <a:pt x="32" y="22"/>
                </a:cubicBezTo>
                <a:cubicBezTo>
                  <a:pt x="31" y="24"/>
                  <a:pt x="29" y="26"/>
                  <a:pt x="28" y="29"/>
                </a:cubicBezTo>
                <a:cubicBezTo>
                  <a:pt x="27" y="29"/>
                  <a:pt x="27" y="29"/>
                  <a:pt x="26" y="29"/>
                </a:cubicBezTo>
                <a:close/>
                <a:moveTo>
                  <a:pt x="26" y="31"/>
                </a:moveTo>
                <a:cubicBezTo>
                  <a:pt x="25" y="32"/>
                  <a:pt x="24" y="33"/>
                  <a:pt x="23" y="34"/>
                </a:cubicBezTo>
                <a:cubicBezTo>
                  <a:pt x="22" y="34"/>
                  <a:pt x="22" y="34"/>
                  <a:pt x="22" y="34"/>
                </a:cubicBezTo>
                <a:cubicBezTo>
                  <a:pt x="21" y="33"/>
                  <a:pt x="20" y="32"/>
                  <a:pt x="19" y="31"/>
                </a:cubicBezTo>
                <a:cubicBezTo>
                  <a:pt x="18" y="30"/>
                  <a:pt x="19" y="30"/>
                  <a:pt x="19" y="30"/>
                </a:cubicBezTo>
                <a:cubicBezTo>
                  <a:pt x="21" y="30"/>
                  <a:pt x="23" y="30"/>
                  <a:pt x="26" y="30"/>
                </a:cubicBezTo>
                <a:cubicBezTo>
                  <a:pt x="26" y="30"/>
                  <a:pt x="26" y="30"/>
                  <a:pt x="26" y="31"/>
                </a:cubicBezTo>
                <a:close/>
                <a:moveTo>
                  <a:pt x="34" y="14"/>
                </a:moveTo>
                <a:cubicBezTo>
                  <a:pt x="34" y="16"/>
                  <a:pt x="33" y="17"/>
                  <a:pt x="33" y="19"/>
                </a:cubicBezTo>
                <a:cubicBezTo>
                  <a:pt x="33" y="19"/>
                  <a:pt x="32" y="19"/>
                  <a:pt x="32" y="19"/>
                </a:cubicBezTo>
                <a:cubicBezTo>
                  <a:pt x="31" y="17"/>
                  <a:pt x="30" y="15"/>
                  <a:pt x="29" y="13"/>
                </a:cubicBezTo>
                <a:cubicBezTo>
                  <a:pt x="28" y="13"/>
                  <a:pt x="29" y="13"/>
                  <a:pt x="29" y="13"/>
                </a:cubicBezTo>
                <a:cubicBezTo>
                  <a:pt x="31" y="13"/>
                  <a:pt x="32" y="13"/>
                  <a:pt x="34" y="14"/>
                </a:cubicBezTo>
                <a:cubicBezTo>
                  <a:pt x="34" y="14"/>
                  <a:pt x="34" y="14"/>
                  <a:pt x="34" y="14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6" name="Freeform 129"/>
          <p:cNvSpPr>
            <a:spLocks noEditPoints="1"/>
          </p:cNvSpPr>
          <p:nvPr/>
        </p:nvSpPr>
        <p:spPr bwMode="auto">
          <a:xfrm>
            <a:off x="9787401" y="3640375"/>
            <a:ext cx="674977" cy="674983"/>
          </a:xfrm>
          <a:custGeom>
            <a:avLst/>
            <a:gdLst/>
            <a:ahLst/>
            <a:cxnLst>
              <a:cxn ang="0">
                <a:pos x="0" y="145"/>
              </a:cxn>
              <a:cxn ang="0">
                <a:pos x="290" y="145"/>
              </a:cxn>
              <a:cxn ang="0">
                <a:pos x="205" y="135"/>
              </a:cxn>
              <a:cxn ang="0">
                <a:pos x="151" y="142"/>
              </a:cxn>
              <a:cxn ang="0">
                <a:pos x="194" y="92"/>
              </a:cxn>
              <a:cxn ang="0">
                <a:pos x="97" y="91"/>
              </a:cxn>
              <a:cxn ang="0">
                <a:pos x="138" y="142"/>
              </a:cxn>
              <a:cxn ang="0">
                <a:pos x="86" y="134"/>
              </a:cxn>
              <a:cxn ang="0">
                <a:pos x="138" y="82"/>
              </a:cxn>
              <a:cxn ang="0">
                <a:pos x="138" y="33"/>
              </a:cxn>
              <a:cxn ang="0">
                <a:pos x="138" y="155"/>
              </a:cxn>
              <a:cxn ang="0">
                <a:pos x="98" y="202"/>
              </a:cxn>
              <a:cxn ang="0">
                <a:pos x="138" y="155"/>
              </a:cxn>
              <a:cxn ang="0">
                <a:pos x="138" y="262"/>
              </a:cxn>
              <a:cxn ang="0">
                <a:pos x="138" y="212"/>
              </a:cxn>
              <a:cxn ang="0">
                <a:pos x="186" y="217"/>
              </a:cxn>
              <a:cxn ang="0">
                <a:pos x="151" y="212"/>
              </a:cxn>
              <a:cxn ang="0">
                <a:pos x="151" y="155"/>
              </a:cxn>
              <a:cxn ang="0">
                <a:pos x="193" y="202"/>
              </a:cxn>
              <a:cxn ang="0">
                <a:pos x="151" y="83"/>
              </a:cxn>
              <a:cxn ang="0">
                <a:pos x="187" y="77"/>
              </a:cxn>
              <a:cxn ang="0">
                <a:pos x="88" y="72"/>
              </a:cxn>
              <a:cxn ang="0">
                <a:pos x="122" y="25"/>
              </a:cxn>
              <a:cxn ang="0">
                <a:pos x="81" y="86"/>
              </a:cxn>
              <a:cxn ang="0">
                <a:pos x="69" y="142"/>
              </a:cxn>
              <a:cxn ang="0">
                <a:pos x="48" y="70"/>
              </a:cxn>
              <a:cxn ang="0">
                <a:pos x="70" y="155"/>
              </a:cxn>
              <a:cxn ang="0">
                <a:pos x="51" y="223"/>
              </a:cxn>
              <a:cxn ang="0">
                <a:pos x="70" y="155"/>
              </a:cxn>
              <a:cxn ang="0">
                <a:pos x="118" y="264"/>
              </a:cxn>
              <a:cxn ang="0">
                <a:pos x="90" y="222"/>
              </a:cxn>
              <a:cxn ang="0">
                <a:pos x="229" y="234"/>
              </a:cxn>
              <a:cxn ang="0">
                <a:pos x="202" y="222"/>
              </a:cxn>
              <a:cxn ang="0">
                <a:pos x="221" y="155"/>
              </a:cxn>
              <a:cxn ang="0">
                <a:pos x="240" y="221"/>
              </a:cxn>
              <a:cxn ang="0">
                <a:pos x="221" y="142"/>
              </a:cxn>
              <a:cxn ang="0">
                <a:pos x="210" y="87"/>
              </a:cxn>
              <a:cxn ang="0">
                <a:pos x="267" y="142"/>
              </a:cxn>
              <a:cxn ang="0">
                <a:pos x="232" y="59"/>
              </a:cxn>
              <a:cxn ang="0">
                <a:pos x="167" y="25"/>
              </a:cxn>
            </a:cxnLst>
            <a:rect l="0" t="0" r="r" b="b"/>
            <a:pathLst>
              <a:path w="290" h="290">
                <a:moveTo>
                  <a:pt x="145" y="0"/>
                </a:moveTo>
                <a:cubicBezTo>
                  <a:pt x="65" y="0"/>
                  <a:pt x="0" y="65"/>
                  <a:pt x="0" y="145"/>
                </a:cubicBezTo>
                <a:cubicBezTo>
                  <a:pt x="0" y="225"/>
                  <a:pt x="65" y="290"/>
                  <a:pt x="145" y="290"/>
                </a:cubicBezTo>
                <a:cubicBezTo>
                  <a:pt x="225" y="290"/>
                  <a:pt x="290" y="225"/>
                  <a:pt x="290" y="145"/>
                </a:cubicBezTo>
                <a:cubicBezTo>
                  <a:pt x="290" y="65"/>
                  <a:pt x="225" y="0"/>
                  <a:pt x="145" y="0"/>
                </a:cubicBezTo>
                <a:close/>
                <a:moveTo>
                  <a:pt x="205" y="135"/>
                </a:moveTo>
                <a:cubicBezTo>
                  <a:pt x="205" y="137"/>
                  <a:pt x="205" y="140"/>
                  <a:pt x="205" y="142"/>
                </a:cubicBezTo>
                <a:cubicBezTo>
                  <a:pt x="151" y="142"/>
                  <a:pt x="151" y="142"/>
                  <a:pt x="151" y="142"/>
                </a:cubicBezTo>
                <a:cubicBezTo>
                  <a:pt x="151" y="98"/>
                  <a:pt x="151" y="98"/>
                  <a:pt x="151" y="98"/>
                </a:cubicBezTo>
                <a:cubicBezTo>
                  <a:pt x="164" y="98"/>
                  <a:pt x="179" y="96"/>
                  <a:pt x="194" y="92"/>
                </a:cubicBezTo>
                <a:cubicBezTo>
                  <a:pt x="199" y="105"/>
                  <a:pt x="204" y="119"/>
                  <a:pt x="205" y="135"/>
                </a:cubicBezTo>
                <a:close/>
                <a:moveTo>
                  <a:pt x="97" y="91"/>
                </a:moveTo>
                <a:cubicBezTo>
                  <a:pt x="109" y="95"/>
                  <a:pt x="122" y="97"/>
                  <a:pt x="138" y="98"/>
                </a:cubicBezTo>
                <a:cubicBezTo>
                  <a:pt x="138" y="142"/>
                  <a:pt x="138" y="142"/>
                  <a:pt x="138" y="142"/>
                </a:cubicBezTo>
                <a:cubicBezTo>
                  <a:pt x="85" y="142"/>
                  <a:pt x="85" y="142"/>
                  <a:pt x="85" y="142"/>
                </a:cubicBezTo>
                <a:cubicBezTo>
                  <a:pt x="85" y="139"/>
                  <a:pt x="86" y="137"/>
                  <a:pt x="86" y="134"/>
                </a:cubicBezTo>
                <a:cubicBezTo>
                  <a:pt x="87" y="118"/>
                  <a:pt x="91" y="104"/>
                  <a:pt x="97" y="91"/>
                </a:cubicBezTo>
                <a:close/>
                <a:moveTo>
                  <a:pt x="138" y="82"/>
                </a:moveTo>
                <a:cubicBezTo>
                  <a:pt x="125" y="82"/>
                  <a:pt x="114" y="80"/>
                  <a:pt x="104" y="77"/>
                </a:cubicBezTo>
                <a:cubicBezTo>
                  <a:pt x="114" y="57"/>
                  <a:pt x="128" y="42"/>
                  <a:pt x="138" y="33"/>
                </a:cubicBezTo>
                <a:lnTo>
                  <a:pt x="138" y="82"/>
                </a:lnTo>
                <a:close/>
                <a:moveTo>
                  <a:pt x="138" y="155"/>
                </a:moveTo>
                <a:cubicBezTo>
                  <a:pt x="138" y="196"/>
                  <a:pt x="138" y="196"/>
                  <a:pt x="138" y="196"/>
                </a:cubicBezTo>
                <a:cubicBezTo>
                  <a:pt x="123" y="197"/>
                  <a:pt x="110" y="199"/>
                  <a:pt x="98" y="202"/>
                </a:cubicBezTo>
                <a:cubicBezTo>
                  <a:pt x="91" y="187"/>
                  <a:pt x="87" y="171"/>
                  <a:pt x="86" y="155"/>
                </a:cubicBezTo>
                <a:lnTo>
                  <a:pt x="138" y="155"/>
                </a:lnTo>
                <a:close/>
                <a:moveTo>
                  <a:pt x="138" y="212"/>
                </a:moveTo>
                <a:cubicBezTo>
                  <a:pt x="138" y="262"/>
                  <a:pt x="138" y="262"/>
                  <a:pt x="138" y="262"/>
                </a:cubicBezTo>
                <a:cubicBezTo>
                  <a:pt x="124" y="247"/>
                  <a:pt x="114" y="232"/>
                  <a:pt x="106" y="217"/>
                </a:cubicBezTo>
                <a:cubicBezTo>
                  <a:pt x="115" y="215"/>
                  <a:pt x="126" y="213"/>
                  <a:pt x="138" y="212"/>
                </a:cubicBezTo>
                <a:close/>
                <a:moveTo>
                  <a:pt x="151" y="212"/>
                </a:moveTo>
                <a:cubicBezTo>
                  <a:pt x="162" y="212"/>
                  <a:pt x="174" y="214"/>
                  <a:pt x="186" y="217"/>
                </a:cubicBezTo>
                <a:cubicBezTo>
                  <a:pt x="177" y="233"/>
                  <a:pt x="165" y="249"/>
                  <a:pt x="151" y="265"/>
                </a:cubicBezTo>
                <a:lnTo>
                  <a:pt x="151" y="212"/>
                </a:lnTo>
                <a:close/>
                <a:moveTo>
                  <a:pt x="151" y="196"/>
                </a:moveTo>
                <a:cubicBezTo>
                  <a:pt x="151" y="155"/>
                  <a:pt x="151" y="155"/>
                  <a:pt x="151" y="155"/>
                </a:cubicBezTo>
                <a:cubicBezTo>
                  <a:pt x="205" y="155"/>
                  <a:pt x="205" y="155"/>
                  <a:pt x="205" y="155"/>
                </a:cubicBezTo>
                <a:cubicBezTo>
                  <a:pt x="204" y="171"/>
                  <a:pt x="200" y="186"/>
                  <a:pt x="193" y="202"/>
                </a:cubicBezTo>
                <a:cubicBezTo>
                  <a:pt x="178" y="198"/>
                  <a:pt x="164" y="196"/>
                  <a:pt x="151" y="196"/>
                </a:cubicBezTo>
                <a:close/>
                <a:moveTo>
                  <a:pt x="151" y="83"/>
                </a:moveTo>
                <a:cubicBezTo>
                  <a:pt x="151" y="32"/>
                  <a:pt x="151" y="32"/>
                  <a:pt x="151" y="32"/>
                </a:cubicBezTo>
                <a:cubicBezTo>
                  <a:pt x="160" y="40"/>
                  <a:pt x="175" y="56"/>
                  <a:pt x="187" y="77"/>
                </a:cubicBezTo>
                <a:cubicBezTo>
                  <a:pt x="174" y="81"/>
                  <a:pt x="162" y="82"/>
                  <a:pt x="151" y="83"/>
                </a:cubicBezTo>
                <a:close/>
                <a:moveTo>
                  <a:pt x="88" y="72"/>
                </a:moveTo>
                <a:cubicBezTo>
                  <a:pt x="75" y="67"/>
                  <a:pt x="66" y="62"/>
                  <a:pt x="59" y="57"/>
                </a:cubicBezTo>
                <a:cubicBezTo>
                  <a:pt x="76" y="41"/>
                  <a:pt x="98" y="29"/>
                  <a:pt x="122" y="25"/>
                </a:cubicBezTo>
                <a:cubicBezTo>
                  <a:pt x="112" y="35"/>
                  <a:pt x="98" y="51"/>
                  <a:pt x="88" y="72"/>
                </a:cubicBezTo>
                <a:close/>
                <a:moveTo>
                  <a:pt x="81" y="86"/>
                </a:moveTo>
                <a:cubicBezTo>
                  <a:pt x="75" y="100"/>
                  <a:pt x="71" y="116"/>
                  <a:pt x="70" y="133"/>
                </a:cubicBezTo>
                <a:cubicBezTo>
                  <a:pt x="69" y="136"/>
                  <a:pt x="69" y="139"/>
                  <a:pt x="69" y="142"/>
                </a:cubicBezTo>
                <a:cubicBezTo>
                  <a:pt x="22" y="142"/>
                  <a:pt x="22" y="142"/>
                  <a:pt x="22" y="142"/>
                </a:cubicBezTo>
                <a:cubicBezTo>
                  <a:pt x="23" y="115"/>
                  <a:pt x="33" y="90"/>
                  <a:pt x="48" y="70"/>
                </a:cubicBezTo>
                <a:cubicBezTo>
                  <a:pt x="55" y="74"/>
                  <a:pt x="67" y="80"/>
                  <a:pt x="81" y="86"/>
                </a:cubicBezTo>
                <a:close/>
                <a:moveTo>
                  <a:pt x="70" y="155"/>
                </a:moveTo>
                <a:cubicBezTo>
                  <a:pt x="71" y="173"/>
                  <a:pt x="75" y="190"/>
                  <a:pt x="83" y="208"/>
                </a:cubicBezTo>
                <a:cubicBezTo>
                  <a:pt x="69" y="213"/>
                  <a:pt x="58" y="219"/>
                  <a:pt x="51" y="223"/>
                </a:cubicBezTo>
                <a:cubicBezTo>
                  <a:pt x="35" y="204"/>
                  <a:pt x="25" y="181"/>
                  <a:pt x="23" y="155"/>
                </a:cubicBezTo>
                <a:lnTo>
                  <a:pt x="70" y="155"/>
                </a:lnTo>
                <a:close/>
                <a:moveTo>
                  <a:pt x="90" y="222"/>
                </a:moveTo>
                <a:cubicBezTo>
                  <a:pt x="97" y="236"/>
                  <a:pt x="107" y="250"/>
                  <a:pt x="118" y="264"/>
                </a:cubicBezTo>
                <a:cubicBezTo>
                  <a:pt x="97" y="260"/>
                  <a:pt x="78" y="249"/>
                  <a:pt x="62" y="235"/>
                </a:cubicBezTo>
                <a:cubicBezTo>
                  <a:pt x="69" y="231"/>
                  <a:pt x="78" y="226"/>
                  <a:pt x="90" y="222"/>
                </a:cubicBezTo>
                <a:close/>
                <a:moveTo>
                  <a:pt x="202" y="222"/>
                </a:moveTo>
                <a:cubicBezTo>
                  <a:pt x="210" y="225"/>
                  <a:pt x="219" y="229"/>
                  <a:pt x="229" y="234"/>
                </a:cubicBezTo>
                <a:cubicBezTo>
                  <a:pt x="214" y="248"/>
                  <a:pt x="195" y="259"/>
                  <a:pt x="174" y="264"/>
                </a:cubicBezTo>
                <a:cubicBezTo>
                  <a:pt x="185" y="250"/>
                  <a:pt x="194" y="236"/>
                  <a:pt x="202" y="222"/>
                </a:cubicBezTo>
                <a:close/>
                <a:moveTo>
                  <a:pt x="209" y="207"/>
                </a:moveTo>
                <a:cubicBezTo>
                  <a:pt x="216" y="190"/>
                  <a:pt x="220" y="172"/>
                  <a:pt x="221" y="155"/>
                </a:cubicBezTo>
                <a:cubicBezTo>
                  <a:pt x="266" y="155"/>
                  <a:pt x="266" y="155"/>
                  <a:pt x="266" y="155"/>
                </a:cubicBezTo>
                <a:cubicBezTo>
                  <a:pt x="264" y="180"/>
                  <a:pt x="255" y="203"/>
                  <a:pt x="240" y="221"/>
                </a:cubicBezTo>
                <a:cubicBezTo>
                  <a:pt x="229" y="215"/>
                  <a:pt x="219" y="211"/>
                  <a:pt x="209" y="207"/>
                </a:cubicBezTo>
                <a:close/>
                <a:moveTo>
                  <a:pt x="221" y="142"/>
                </a:moveTo>
                <a:cubicBezTo>
                  <a:pt x="221" y="139"/>
                  <a:pt x="221" y="137"/>
                  <a:pt x="221" y="134"/>
                </a:cubicBezTo>
                <a:cubicBezTo>
                  <a:pt x="220" y="117"/>
                  <a:pt x="215" y="101"/>
                  <a:pt x="210" y="87"/>
                </a:cubicBezTo>
                <a:cubicBezTo>
                  <a:pt x="220" y="83"/>
                  <a:pt x="231" y="78"/>
                  <a:pt x="242" y="71"/>
                </a:cubicBezTo>
                <a:cubicBezTo>
                  <a:pt x="257" y="91"/>
                  <a:pt x="266" y="116"/>
                  <a:pt x="267" y="142"/>
                </a:cubicBezTo>
                <a:lnTo>
                  <a:pt x="221" y="142"/>
                </a:lnTo>
                <a:close/>
                <a:moveTo>
                  <a:pt x="232" y="59"/>
                </a:moveTo>
                <a:cubicBezTo>
                  <a:pt x="222" y="64"/>
                  <a:pt x="212" y="69"/>
                  <a:pt x="203" y="72"/>
                </a:cubicBezTo>
                <a:cubicBezTo>
                  <a:pt x="192" y="51"/>
                  <a:pt x="178" y="35"/>
                  <a:pt x="167" y="25"/>
                </a:cubicBezTo>
                <a:cubicBezTo>
                  <a:pt x="192" y="29"/>
                  <a:pt x="214" y="42"/>
                  <a:pt x="232" y="59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38" name="Content Placeholder 2"/>
          <p:cNvSpPr txBox="1"/>
          <p:nvPr/>
        </p:nvSpPr>
        <p:spPr>
          <a:xfrm>
            <a:off x="1616768" y="5297944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 </a:t>
            </a:r>
            <a:r>
              <a:rPr lang="en-US" sz="1000" dirty="0" err="1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000" dirty="0" smtClean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dolor</a:t>
            </a:r>
            <a:endParaRPr lang="en-US" sz="1000" dirty="0">
              <a:solidFill>
                <a:schemeClr val="tx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39" name="Content Placeholder 2"/>
          <p:cNvSpPr txBox="1"/>
          <p:nvPr/>
        </p:nvSpPr>
        <p:spPr>
          <a:xfrm>
            <a:off x="6482388" y="5297944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 </a:t>
            </a:r>
            <a:r>
              <a:rPr lang="en-US" sz="1000" dirty="0" err="1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000" dirty="0" smtClean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dolor</a:t>
            </a:r>
            <a:endParaRPr lang="en-US" sz="1000" dirty="0">
              <a:solidFill>
                <a:schemeClr val="tx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40" name="Content Placeholder 2"/>
          <p:cNvSpPr txBox="1"/>
          <p:nvPr/>
        </p:nvSpPr>
        <p:spPr>
          <a:xfrm>
            <a:off x="9443502" y="5297944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Lorem </a:t>
            </a:r>
            <a:r>
              <a:rPr lang="en-US" sz="1000" dirty="0" err="1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ipsum</a:t>
            </a:r>
            <a:r>
              <a:rPr lang="en-US" sz="1000" dirty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000" dirty="0" smtClean="0">
                <a:solidFill>
                  <a:schemeClr val="tx2"/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dolor</a:t>
            </a:r>
            <a:endParaRPr lang="en-US" sz="1000" dirty="0">
              <a:solidFill>
                <a:schemeClr val="tx2"/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  <p:sp>
        <p:nvSpPr>
          <p:cNvPr id="50" name="Freeform 4"/>
          <p:cNvSpPr/>
          <p:nvPr/>
        </p:nvSpPr>
        <p:spPr bwMode="auto">
          <a:xfrm rot="10800000" flipH="1" flipV="1">
            <a:off x="11605708" y="391054"/>
            <a:ext cx="1532034" cy="1367785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8" name="Freeform 4"/>
          <p:cNvSpPr/>
          <p:nvPr/>
        </p:nvSpPr>
        <p:spPr bwMode="auto">
          <a:xfrm rot="16200000" flipH="1" flipV="1">
            <a:off x="8637262" y="2685622"/>
            <a:ext cx="2802586" cy="242205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0" name="Title 13"/>
          <p:cNvSpPr txBox="1"/>
          <p:nvPr/>
        </p:nvSpPr>
        <p:spPr>
          <a:xfrm>
            <a:off x="1840742" y="2433894"/>
            <a:ext cx="826437" cy="651199"/>
          </a:xfrm>
          <a:prstGeom prst="hexagon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2800" b="1" dirty="0" smtClean="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Arial" panose="020B0604020202020204"/>
              </a:rPr>
              <a:t>1</a:t>
            </a:r>
            <a:endParaRPr lang="en-US" sz="2800" b="1" dirty="0">
              <a:solidFill>
                <a:schemeClr val="accent1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Arial" panose="020B0604020202020204"/>
            </a:endParaRPr>
          </a:p>
        </p:txBody>
      </p:sp>
      <p:sp>
        <p:nvSpPr>
          <p:cNvPr id="31" name="Content Placeholder 2"/>
          <p:cNvSpPr txBox="1"/>
          <p:nvPr/>
        </p:nvSpPr>
        <p:spPr>
          <a:xfrm>
            <a:off x="1989572" y="821837"/>
            <a:ext cx="1706128" cy="4433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Curabitur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elementum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posuere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latin typeface="Arial" panose="020B0604020202020204"/>
                <a:ea typeface="微软雅黑" panose="020B0503020204020204" charset="-122"/>
                <a:sym typeface="Arial" panose="020B0604020202020204"/>
              </a:rPr>
              <a:t>pretium</a:t>
            </a:r>
            <a:endParaRPr lang="en-US" sz="1200" dirty="0">
              <a:solidFill>
                <a:schemeClr val="bg2">
                  <a:lumMod val="50000"/>
                </a:schemeClr>
              </a:solidFill>
              <a:latin typeface="Arial" panose="020B0604020202020204"/>
              <a:ea typeface="微软雅黑" panose="020B0503020204020204" charset="-122"/>
              <a:sym typeface="Arial" panose="020B0604020202020204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6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ww.2ppt.com">
  <a:themeElements>
    <a:clrScheme name="自定义 4">
      <a:dk1>
        <a:srgbClr val="5C5C5C"/>
      </a:dk1>
      <a:lt1>
        <a:sysClr val="window" lastClr="FFFFFF"/>
      </a:lt1>
      <a:dk2>
        <a:srgbClr val="3F3F3F"/>
      </a:dk2>
      <a:lt2>
        <a:srgbClr val="FCFCFC"/>
      </a:lt2>
      <a:accent1>
        <a:srgbClr val="00DCCA"/>
      </a:accent1>
      <a:accent2>
        <a:srgbClr val="415A61"/>
      </a:accent2>
      <a:accent3>
        <a:srgbClr val="F2F2F2"/>
      </a:accent3>
      <a:accent4>
        <a:srgbClr val="F47264"/>
      </a:accent4>
      <a:accent5>
        <a:srgbClr val="7CC8EC"/>
      </a:accent5>
      <a:accent6>
        <a:srgbClr val="868AD1"/>
      </a:accent6>
      <a:hlink>
        <a:srgbClr val="0000FF"/>
      </a:hlink>
      <a:folHlink>
        <a:srgbClr val="800080"/>
      </a:folHlink>
    </a:clrScheme>
    <a:fontScheme name="Mayas Fonts">
      <a:majorFont>
        <a:latin typeface="Source Sans Pro Light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98</Words>
  <Application>Microsoft Office PowerPoint</Application>
  <PresentationFormat>宽屏</PresentationFormat>
  <Paragraphs>168</Paragraphs>
  <Slides>20</Slides>
  <Notes>2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0</vt:i4>
      </vt:variant>
    </vt:vector>
  </HeadingPairs>
  <TitlesOfParts>
    <vt:vector size="30" baseType="lpstr">
      <vt:lpstr>Aharoni</vt:lpstr>
      <vt:lpstr>Dotum</vt:lpstr>
      <vt:lpstr>Source Sans Pro Light</vt:lpstr>
      <vt:lpstr>宋体</vt:lpstr>
      <vt:lpstr>微软雅黑</vt:lpstr>
      <vt:lpstr>幼圆</vt:lpstr>
      <vt:lpstr>Arial</vt:lpstr>
      <vt:lpstr>Calibri</vt:lpstr>
      <vt:lpstr>www.2ppt.com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ppt818.com</dc:title>
  <dc:subject>www.ppt818.com</dc:subject>
  <dc:creator>www.ppt818.com</dc:creator>
  <dc:description>www.ppt818.com-提供资源下载</dc:description>
  <cp:lastModifiedBy>Windows 用户</cp:lastModifiedBy>
  <cp:revision>3</cp:revision>
  <dcterms:created xsi:type="dcterms:W3CDTF">2021-05-18T06:12:28Z</dcterms:created>
  <dcterms:modified xsi:type="dcterms:W3CDTF">2023-01-11T01:50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6587E11446C84CB29B0BE2532E5E8D21</vt:lpwstr>
  </property>
  <property fmtid="{D5CDD505-2E9C-101B-9397-08002B2CF9AE}" pid="3" name="KSOProductBuildVer">
    <vt:lpwstr>2052-11.1.0.10495</vt:lpwstr>
  </property>
  <property fmtid="{A09F084E-AD41-489F-8076-AA5BE3082BCA}" pid="100">
    <vt:ui4>5</vt:ui4>
  </property>
  <property fmtid="{64440492-4C8B-11D1-8B70-080036B11A03}" pid="11">
    <vt:lpwstr>www.2ppt.com-爱PPT提供资源下载</vt:lpwstr>
  </property>
</Properties>
</file>